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87"/>
  </p:notesMasterIdLst>
  <p:handoutMasterIdLst>
    <p:handoutMasterId r:id="rId88"/>
  </p:handoutMasterIdLst>
  <p:sldIdLst>
    <p:sldId id="256" r:id="rId6"/>
    <p:sldId id="301" r:id="rId7"/>
    <p:sldId id="302" r:id="rId8"/>
    <p:sldId id="303" r:id="rId9"/>
    <p:sldId id="305" r:id="rId10"/>
    <p:sldId id="306" r:id="rId11"/>
    <p:sldId id="304" r:id="rId12"/>
    <p:sldId id="307" r:id="rId13"/>
    <p:sldId id="308" r:id="rId14"/>
    <p:sldId id="310" r:id="rId15"/>
    <p:sldId id="311" r:id="rId16"/>
    <p:sldId id="312" r:id="rId17"/>
    <p:sldId id="313" r:id="rId18"/>
    <p:sldId id="309" r:id="rId19"/>
    <p:sldId id="314" r:id="rId20"/>
    <p:sldId id="346" r:id="rId21"/>
    <p:sldId id="355" r:id="rId22"/>
    <p:sldId id="374" r:id="rId23"/>
    <p:sldId id="356" r:id="rId24"/>
    <p:sldId id="347" r:id="rId25"/>
    <p:sldId id="332" r:id="rId26"/>
    <p:sldId id="333" r:id="rId27"/>
    <p:sldId id="334" r:id="rId28"/>
    <p:sldId id="335" r:id="rId29"/>
    <p:sldId id="336" r:id="rId30"/>
    <p:sldId id="337" r:id="rId31"/>
    <p:sldId id="338" r:id="rId32"/>
    <p:sldId id="348" r:id="rId33"/>
    <p:sldId id="339" r:id="rId34"/>
    <p:sldId id="340" r:id="rId35"/>
    <p:sldId id="341" r:id="rId36"/>
    <p:sldId id="342" r:id="rId37"/>
    <p:sldId id="343" r:id="rId38"/>
    <p:sldId id="344" r:id="rId39"/>
    <p:sldId id="345" r:id="rId40"/>
    <p:sldId id="350" r:id="rId41"/>
    <p:sldId id="349" r:id="rId42"/>
    <p:sldId id="351" r:id="rId43"/>
    <p:sldId id="352" r:id="rId44"/>
    <p:sldId id="353" r:id="rId45"/>
    <p:sldId id="354" r:id="rId46"/>
    <p:sldId id="375" r:id="rId47"/>
    <p:sldId id="376" r:id="rId48"/>
    <p:sldId id="377" r:id="rId49"/>
    <p:sldId id="316" r:id="rId50"/>
    <p:sldId id="378" r:id="rId51"/>
    <p:sldId id="318" r:id="rId52"/>
    <p:sldId id="317" r:id="rId53"/>
    <p:sldId id="315" r:id="rId54"/>
    <p:sldId id="379" r:id="rId55"/>
    <p:sldId id="324" r:id="rId56"/>
    <p:sldId id="323" r:id="rId57"/>
    <p:sldId id="319" r:id="rId58"/>
    <p:sldId id="320" r:id="rId59"/>
    <p:sldId id="321" r:id="rId60"/>
    <p:sldId id="357" r:id="rId61"/>
    <p:sldId id="358" r:id="rId62"/>
    <p:sldId id="359" r:id="rId63"/>
    <p:sldId id="360" r:id="rId64"/>
    <p:sldId id="322" r:id="rId65"/>
    <p:sldId id="325" r:id="rId66"/>
    <p:sldId id="326" r:id="rId67"/>
    <p:sldId id="361" r:id="rId68"/>
    <p:sldId id="362" r:id="rId69"/>
    <p:sldId id="363" r:id="rId70"/>
    <p:sldId id="364" r:id="rId71"/>
    <p:sldId id="327" r:id="rId72"/>
    <p:sldId id="365" r:id="rId73"/>
    <p:sldId id="366" r:id="rId74"/>
    <p:sldId id="367" r:id="rId75"/>
    <p:sldId id="368" r:id="rId76"/>
    <p:sldId id="328" r:id="rId77"/>
    <p:sldId id="329" r:id="rId78"/>
    <p:sldId id="330" r:id="rId79"/>
    <p:sldId id="331" r:id="rId80"/>
    <p:sldId id="369" r:id="rId81"/>
    <p:sldId id="370" r:id="rId82"/>
    <p:sldId id="371" r:id="rId83"/>
    <p:sldId id="372" r:id="rId84"/>
    <p:sldId id="373" r:id="rId85"/>
    <p:sldId id="299" r:id="rId86"/>
  </p:sldIdLst>
  <p:sldSz cx="9144000" cy="6858000" type="screen4x3"/>
  <p:notesSz cx="7023100" cy="9309100"/>
  <p:custDataLst>
    <p:tags r:id="rId89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6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E42020"/>
    <a:srgbClr val="E71D1D"/>
    <a:srgbClr val="EB2819"/>
    <a:srgbClr val="000000"/>
    <a:srgbClr val="EE3124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87" d="100"/>
          <a:sy n="87" d="100"/>
        </p:scale>
        <p:origin x="1315" y="226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slide" Target="slides/slide71.xml"/><Relationship Id="rId84" Type="http://schemas.openxmlformats.org/officeDocument/2006/relationships/slide" Target="slides/slide79.xml"/><Relationship Id="rId89" Type="http://schemas.openxmlformats.org/officeDocument/2006/relationships/tags" Target="tags/tag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90" Type="http://schemas.openxmlformats.org/officeDocument/2006/relationships/commentAuthors" Target="commentAuthor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93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handoutMaster" Target="handoutMasters/handoutMaster1.xml"/><Relationship Id="rId9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3-2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3-2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782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19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49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51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470.png"/><Relationship Id="rId4" Type="http://schemas.openxmlformats.org/officeDocument/2006/relationships/image" Target="../media/image46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4" Type="http://schemas.openxmlformats.org/officeDocument/2006/relationships/image" Target="../media/image53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4" Type="http://schemas.openxmlformats.org/officeDocument/2006/relationships/image" Target="../media/image55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4" Type="http://schemas.openxmlformats.org/officeDocument/2006/relationships/image" Target="../media/image57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4" Type="http://schemas.openxmlformats.org/officeDocument/2006/relationships/image" Target="../media/image59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4" Type="http://schemas.openxmlformats.org/officeDocument/2006/relationships/image" Target="../media/image61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8.mkv"/><Relationship Id="rId1" Type="http://schemas.microsoft.com/office/2007/relationships/media" Target="../media/media8.mkv"/><Relationship Id="rId4" Type="http://schemas.openxmlformats.org/officeDocument/2006/relationships/image" Target="../media/image62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9.mkv"/><Relationship Id="rId1" Type="http://schemas.microsoft.com/office/2007/relationships/media" Target="../media/media9.mkv"/><Relationship Id="rId4" Type="http://schemas.openxmlformats.org/officeDocument/2006/relationships/image" Target="../media/image63.png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9.jpeg"/><Relationship Id="rId4" Type="http://schemas.openxmlformats.org/officeDocument/2006/relationships/image" Target="../media/image6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gress report on framework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4</a:t>
            </a:r>
            <a:r>
              <a:rPr lang="en-US" baseline="30000" dirty="0"/>
              <a:t>th</a:t>
            </a:r>
            <a:r>
              <a:rPr lang="en-US" dirty="0"/>
              <a:t> April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ules of the Air within Reach Set SAA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lict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nflict resolution</a:t>
            </a:r>
            <a:r>
              <a:rPr lang="en-US" dirty="0"/>
              <a:t> is </a:t>
            </a:r>
            <a:r>
              <a:rPr lang="en-US" i="1" u="sng" dirty="0"/>
              <a:t>Event-based</a:t>
            </a:r>
            <a:r>
              <a:rPr lang="en-US" dirty="0"/>
              <a:t> depending on proclaimed aircraft </a:t>
            </a:r>
            <a:r>
              <a:rPr lang="en-US" i="1" u="sng" dirty="0"/>
              <a:t>position, heading and velocity, and classification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llision Case </a:t>
            </a:r>
            <a:r>
              <a:rPr lang="en-US" dirty="0"/>
              <a:t>is created for two conflict participants (for both):</a:t>
            </a:r>
          </a:p>
          <a:p>
            <a:r>
              <a:rPr lang="en-US" i="1" u="sng" dirty="0"/>
              <a:t>Position</a:t>
            </a:r>
            <a:r>
              <a:rPr lang="en-US" dirty="0"/>
              <a:t> (Latitude, Longitude, Flight level).</a:t>
            </a:r>
          </a:p>
          <a:p>
            <a:r>
              <a:rPr lang="en-US" i="1" u="sng" dirty="0"/>
              <a:t>Velocity</a:t>
            </a:r>
            <a:r>
              <a:rPr lang="en-US" dirty="0"/>
              <a:t> (Vectorizer, Planar),</a:t>
            </a:r>
          </a:p>
          <a:p>
            <a:r>
              <a:rPr lang="en-US" i="1" u="sng" dirty="0"/>
              <a:t>Vehicle Category</a:t>
            </a:r>
            <a:r>
              <a:rPr lang="en-US" dirty="0"/>
              <a:t> (Size/Maneuverability) </a:t>
            </a:r>
          </a:p>
          <a:p>
            <a:r>
              <a:rPr lang="en-US" i="1" u="sng" dirty="0"/>
              <a:t>Trajectory Prediction</a:t>
            </a:r>
            <a:r>
              <a:rPr lang="en-US" dirty="0"/>
              <a:t> (Planned/Predicted)</a:t>
            </a:r>
          </a:p>
          <a:p>
            <a:r>
              <a:rPr lang="en-US" i="1" u="sng" dirty="0"/>
              <a:t>Collision point </a:t>
            </a:r>
            <a:r>
              <a:rPr lang="en-US" dirty="0"/>
              <a:t>(Based on possible trajectory intersection)</a:t>
            </a:r>
          </a:p>
          <a:p>
            <a:r>
              <a:rPr lang="en-US" i="1" u="sng" dirty="0"/>
              <a:t>Angle of Approach</a:t>
            </a:r>
            <a:r>
              <a:rPr lang="en-US" dirty="0"/>
              <a:t> (to adversarial vehicle)</a:t>
            </a:r>
          </a:p>
          <a:p>
            <a:r>
              <a:rPr lang="en-US" i="1" u="sng" dirty="0"/>
              <a:t>Collision type</a:t>
            </a:r>
            <a:r>
              <a:rPr lang="en-US" dirty="0"/>
              <a:t> (Based on Angle of approach)</a:t>
            </a:r>
          </a:p>
          <a:p>
            <a:r>
              <a:rPr lang="en-US" i="1" u="sng" dirty="0"/>
              <a:t>Avoidance role</a:t>
            </a:r>
            <a:r>
              <a:rPr lang="en-US" dirty="0"/>
              <a:t> (Based on previous data and decision algorith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work is focused on </a:t>
            </a:r>
            <a:r>
              <a:rPr lang="en-US" i="1" u="sng" dirty="0"/>
              <a:t>resolution of  Loitering incidents</a:t>
            </a:r>
            <a:r>
              <a:rPr lang="en-US" dirty="0"/>
              <a:t> in same flight level. The </a:t>
            </a:r>
            <a:r>
              <a:rPr lang="en-US" i="1" u="sng" dirty="0"/>
              <a:t>UTM have final decision on Collision case opening/closing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1826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Collision Case resolved by UT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nearby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onsidered in UTM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at is considered in </a:t>
            </a:r>
            <a:r>
              <a:rPr lang="en-US" b="1" i="1" u="sng" dirty="0"/>
              <a:t>UTM Resolution</a:t>
            </a:r>
            <a:r>
              <a:rPr lang="en-US" dirty="0"/>
              <a:t> process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category</a:t>
            </a:r>
            <a:r>
              <a:rPr lang="en-US" dirty="0"/>
              <a:t> (higher category is always favored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maneuverability</a:t>
            </a:r>
            <a:r>
              <a:rPr lang="en-US" dirty="0"/>
              <a:t> (higher maneuverability is forced to avoidance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ision Point surroundings</a:t>
            </a:r>
            <a:r>
              <a:rPr lang="en-US" dirty="0"/>
              <a:t> (other collision points in proximity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Other Collision Cases</a:t>
            </a:r>
            <a:r>
              <a:rPr lang="en-US" dirty="0"/>
              <a:t> related to aircrafts in current </a:t>
            </a:r>
            <a:r>
              <a:rPr lang="en-US" i="1" dirty="0"/>
              <a:t>collision case </a:t>
            </a:r>
            <a:r>
              <a:rPr lang="en-US" dirty="0"/>
              <a:t>or </a:t>
            </a:r>
            <a:r>
              <a:rPr lang="en-US" i="1" dirty="0"/>
              <a:t>collision point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i="1" u="sng" dirty="0"/>
              <a:t>expected behavior of UAV platform</a:t>
            </a:r>
            <a:r>
              <a:rPr lang="en-US" dirty="0"/>
              <a:t> is given by following table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977114"/>
              </p:ext>
            </p:extLst>
          </p:nvPr>
        </p:nvGraphicFramePr>
        <p:xfrm>
          <a:off x="554520" y="4015766"/>
          <a:ext cx="8002360" cy="1676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02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3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64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001">
                <a:tc>
                  <a:txBody>
                    <a:bodyPr/>
                    <a:lstStyle/>
                    <a:p>
                      <a:r>
                        <a:rPr lang="en-US" sz="1600" dirty="0"/>
                        <a:t>Intru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Our</a:t>
                      </a:r>
                      <a:r>
                        <a:rPr lang="en-US" sz="1600" baseline="0" dirty="0"/>
                        <a:t> vehic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rio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ny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00880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ategory/Maneuverabil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anned aviation in distres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Balloon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Glider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erial towing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irship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ther manned avi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UAS Autonomou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RPA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 </a:t>
            </a:r>
            <a:r>
              <a:rPr lang="en-US" dirty="0"/>
              <a:t>This categorization reflects only Pilot community statement, </a:t>
            </a:r>
            <a:r>
              <a:rPr lang="en-US" i="1" u="sng" dirty="0">
                <a:solidFill>
                  <a:srgbClr val="FF0000"/>
                </a:solidFill>
              </a:rPr>
              <a:t>the general priority rule is broken</a:t>
            </a:r>
            <a:r>
              <a:rPr lang="en-US" dirty="0"/>
              <a:t>, because maneuverability and vulnerability  should be always considered as ked decision factor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ltitude control </a:t>
            </a:r>
            <a:br>
              <a:rPr lang="en-US" dirty="0"/>
            </a:br>
            <a:r>
              <a:rPr lang="en-US" dirty="0"/>
              <a:t>(Balloon, Hovering aircraf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no propulsion </a:t>
            </a:r>
            <a:br>
              <a:rPr lang="en-US" dirty="0"/>
            </a:br>
            <a:r>
              <a:rPr lang="en-US" dirty="0"/>
              <a:t>(Gliders of any sor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gliding</a:t>
            </a:r>
            <a:br>
              <a:rPr lang="en-US" dirty="0"/>
            </a:br>
            <a:r>
              <a:rPr lang="en-US" dirty="0"/>
              <a:t>(Any aircraft of plane type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VTOL </a:t>
            </a:r>
            <a:br>
              <a:rPr lang="en-US" dirty="0"/>
            </a:br>
            <a:r>
              <a:rPr lang="en-US" dirty="0"/>
              <a:t>(Any aircraft with VTOL )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categorization with vehicle cruising/maximal velocity should be main decision matter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riginal categorization is based on maneuverability (</a:t>
            </a:r>
            <a:r>
              <a:rPr lang="en-US" dirty="0">
                <a:solidFill>
                  <a:srgbClr val="FF0000"/>
                </a:solidFill>
              </a:rPr>
              <a:t>extended not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6878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of the Way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i="1" u="sng" dirty="0"/>
              <a:t>Right of the way rules</a:t>
            </a:r>
            <a:r>
              <a:rPr lang="en-US" sz="2000" dirty="0"/>
              <a:t> aid pilots in </a:t>
            </a:r>
            <a:r>
              <a:rPr lang="en-US" sz="2000" i="1" u="sng" dirty="0"/>
              <a:t>avoiding each other visually</a:t>
            </a:r>
          </a:p>
          <a:p>
            <a:r>
              <a:rPr lang="en-US" sz="2000" dirty="0"/>
              <a:t>The rules are found:</a:t>
            </a:r>
          </a:p>
          <a:p>
            <a:pPr lvl="1"/>
            <a:r>
              <a:rPr lang="en-US" sz="1800" dirty="0"/>
              <a:t>Part 91 Federal Aviation Regulation (USA)</a:t>
            </a:r>
          </a:p>
          <a:p>
            <a:pPr lvl="1"/>
            <a:r>
              <a:rPr lang="en-US" sz="1800" dirty="0"/>
              <a:t>ICAO Annex 2 -&gt; Chapter 3  - General Rules -&gt; 3.2 Avoidance of collisions -&gt; 3.2.2 Right of way (International)</a:t>
            </a:r>
          </a:p>
          <a:p>
            <a:endParaRPr lang="en-US" sz="2000" dirty="0"/>
          </a:p>
          <a:p>
            <a:r>
              <a:rPr lang="en-US" sz="2000" dirty="0"/>
              <a:t>When </a:t>
            </a:r>
            <a:r>
              <a:rPr lang="en-US" sz="2000" i="1" u="sng" dirty="0"/>
              <a:t>aircrafts are converging</a:t>
            </a:r>
            <a:r>
              <a:rPr lang="en-US" sz="2000" dirty="0"/>
              <a:t>, the </a:t>
            </a:r>
            <a:r>
              <a:rPr lang="en-US" sz="2000" i="1" u="sng" dirty="0"/>
              <a:t>right of way</a:t>
            </a:r>
            <a:r>
              <a:rPr lang="en-US" sz="2000" dirty="0"/>
              <a:t> is generally given to the </a:t>
            </a:r>
            <a:r>
              <a:rPr lang="en-US" sz="2000" i="1" u="sng" dirty="0"/>
              <a:t>least maneuverable aircraft </a:t>
            </a:r>
            <a:r>
              <a:rPr lang="en-US" sz="2000" dirty="0"/>
              <a:t>(higher class).</a:t>
            </a:r>
          </a:p>
          <a:p>
            <a:r>
              <a:rPr lang="en-US" sz="2000" dirty="0"/>
              <a:t>The </a:t>
            </a:r>
            <a:r>
              <a:rPr lang="en-US" sz="2000" i="1" u="sng" dirty="0"/>
              <a:t>aircraft now having the right of the way is to pass well clear of the aircraft </a:t>
            </a:r>
            <a:r>
              <a:rPr lang="en-US" sz="2000" b="1" i="1" u="sng" dirty="0"/>
              <a:t>not having</a:t>
            </a:r>
            <a:r>
              <a:rPr lang="en-US" sz="2000" i="1" u="sng" dirty="0"/>
              <a:t> the right of the way.</a:t>
            </a:r>
          </a:p>
          <a:p>
            <a:endParaRPr lang="en-US" sz="2000" dirty="0"/>
          </a:p>
          <a:p>
            <a:r>
              <a:rPr lang="en-US" sz="2000" i="1" u="sng" dirty="0"/>
              <a:t>Application for rules of the air</a:t>
            </a:r>
            <a:r>
              <a:rPr lang="en-US" sz="2000" dirty="0"/>
              <a:t> in case of UAV seems </a:t>
            </a:r>
            <a:r>
              <a:rPr lang="en-US" sz="2000" i="1" u="sng" dirty="0"/>
              <a:t>to be reduced to immediate avoidance</a:t>
            </a:r>
            <a:r>
              <a:rPr lang="en-US" sz="2000" dirty="0"/>
              <a:t> in case of manned aviation adversary</a:t>
            </a:r>
          </a:p>
          <a:p>
            <a:r>
              <a:rPr lang="en-US" sz="2000" dirty="0"/>
              <a:t>The avoidance </a:t>
            </a:r>
            <a:r>
              <a:rPr lang="en-US" sz="2000" b="1" i="1" u="sng" dirty="0"/>
              <a:t>rules can be applied between the same class of UAV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839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5" name="Picture 2" descr="http://www.nerdist.com/wp-content/uploads/2014/10/102014_JET_Fusionreact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855662"/>
            <a:ext cx="8102600" cy="540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92785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1927786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Rule Engine</a:t>
            </a:r>
            <a:r>
              <a:rPr lang="en-US" dirty="0"/>
              <a:t> – configurable engine weaved into </a:t>
            </a:r>
            <a:r>
              <a:rPr lang="en-US" i="1" u="sng" dirty="0"/>
              <a:t>UTM, Mission Control, Avoidance Grid, Reach Set</a:t>
            </a:r>
            <a:r>
              <a:rPr lang="en-US" dirty="0"/>
              <a:t> classes to enrich existing functionali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Joint Point</a:t>
            </a:r>
            <a:r>
              <a:rPr lang="en-US" dirty="0"/>
              <a:t> 	– point in process where rule engine is invoked,</a:t>
            </a:r>
          </a:p>
          <a:p>
            <a:pPr marL="0" indent="0">
              <a:buNone/>
            </a:pPr>
            <a:r>
              <a:rPr lang="en-US" b="1" i="1" u="sng" dirty="0"/>
              <a:t>Context</a:t>
            </a:r>
            <a:r>
              <a:rPr lang="en-US" dirty="0"/>
              <a:t> 	– context passed to rule body</a:t>
            </a:r>
          </a:p>
          <a:p>
            <a:pPr marL="0" indent="0">
              <a:buNone/>
            </a:pPr>
            <a:r>
              <a:rPr lang="en-US" b="1" i="1" u="sng" dirty="0"/>
              <a:t>Rule</a:t>
            </a:r>
            <a:r>
              <a:rPr lang="en-US" dirty="0"/>
              <a:t> 		– small piece of functionalit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1022115" y="3217473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85054" y="5115588"/>
            <a:ext cx="1812022" cy="9144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585054" y="3217473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6147993" y="3217473"/>
            <a:ext cx="1812022" cy="9144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cxnSp>
        <p:nvCxnSpPr>
          <p:cNvPr id="10" name="Straight Arrow Connector 9"/>
          <p:cNvCxnSpPr>
            <a:stCxn id="5" idx="2"/>
            <a:endCxn id="6" idx="1"/>
          </p:cNvCxnSpPr>
          <p:nvPr/>
        </p:nvCxnSpPr>
        <p:spPr>
          <a:xfrm rot="16200000" flipH="1">
            <a:off x="203613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Arrow Connector 9"/>
          <p:cNvCxnSpPr>
            <a:cxnSpLocks/>
            <a:stCxn id="8" idx="2"/>
            <a:endCxn id="6" idx="3"/>
          </p:cNvCxnSpPr>
          <p:nvPr/>
        </p:nvCxnSpPr>
        <p:spPr>
          <a:xfrm rot="5400000">
            <a:off x="550508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7" idx="2"/>
            <a:endCxn id="6" idx="0"/>
          </p:cNvCxnSpPr>
          <p:nvPr/>
        </p:nvCxnSpPr>
        <p:spPr>
          <a:xfrm>
            <a:off x="4491065" y="4131873"/>
            <a:ext cx="0" cy="98371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045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Benefits:</a:t>
            </a:r>
          </a:p>
          <a:p>
            <a:r>
              <a:rPr lang="en-US" b="1" i="1" u="sng" dirty="0"/>
              <a:t>Modularity</a:t>
            </a:r>
            <a:r>
              <a:rPr lang="en-US" dirty="0"/>
              <a:t> – keep rule specific </a:t>
            </a:r>
            <a:r>
              <a:rPr lang="en-US" i="1" u="sng" dirty="0"/>
              <a:t>code separated in one class</a:t>
            </a:r>
            <a:r>
              <a:rPr lang="en-US" dirty="0"/>
              <a:t> with given </a:t>
            </a:r>
            <a:r>
              <a:rPr lang="en-US" i="1" u="sng" dirty="0"/>
              <a:t>condition and impact application</a:t>
            </a:r>
            <a:r>
              <a:rPr lang="en-US" dirty="0"/>
              <a:t>, maintain separate functionality .</a:t>
            </a:r>
          </a:p>
          <a:p>
            <a:endParaRPr lang="en-US" dirty="0"/>
          </a:p>
          <a:p>
            <a:r>
              <a:rPr lang="en-US" b="1" i="1" u="sng" dirty="0"/>
              <a:t>Scalability</a:t>
            </a:r>
            <a:r>
              <a:rPr lang="en-US" dirty="0"/>
              <a:t> – use </a:t>
            </a:r>
            <a:r>
              <a:rPr lang="en-US" i="1" u="sng" dirty="0"/>
              <a:t>piece wise code</a:t>
            </a:r>
            <a:r>
              <a:rPr lang="en-US" dirty="0"/>
              <a:t> in navigation/avoidance/control frameworks, </a:t>
            </a:r>
            <a:r>
              <a:rPr lang="en-US" i="1" u="sng" dirty="0"/>
              <a:t>activate/deactivate aspects</a:t>
            </a:r>
            <a:r>
              <a:rPr lang="en-US" dirty="0"/>
              <a:t> and specific behaviors.</a:t>
            </a:r>
          </a:p>
          <a:p>
            <a:endParaRPr lang="en-US" dirty="0"/>
          </a:p>
          <a:p>
            <a:r>
              <a:rPr lang="en-US" b="1" i="1" u="sng" dirty="0"/>
              <a:t>Rule chaining</a:t>
            </a:r>
            <a:r>
              <a:rPr lang="en-US" dirty="0"/>
              <a:t> – rule can be </a:t>
            </a:r>
            <a:r>
              <a:rPr lang="en-US" i="1" u="sng" dirty="0"/>
              <a:t>invoked from Joint Point</a:t>
            </a:r>
            <a:r>
              <a:rPr lang="en-US" dirty="0"/>
              <a:t>, or from </a:t>
            </a:r>
            <a:r>
              <a:rPr lang="en-US" i="1" u="sng" dirty="0"/>
              <a:t>other rule body</a:t>
            </a:r>
            <a:r>
              <a:rPr lang="en-US" dirty="0"/>
              <a:t>, for example specific maneuver rule can be invoked from resolution rule, this becomes especially handy when aspects of logical programing are necessar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hortcomings</a:t>
            </a:r>
            <a:r>
              <a:rPr lang="en-US" dirty="0"/>
              <a:t>:</a:t>
            </a:r>
          </a:p>
          <a:p>
            <a:r>
              <a:rPr lang="en-US" b="1" i="1" u="sng" dirty="0"/>
              <a:t>Border Case Testing</a:t>
            </a:r>
            <a:r>
              <a:rPr lang="en-US" dirty="0"/>
              <a:t> – needs to be implemented to verify rule functionality as intended, </a:t>
            </a:r>
            <a:r>
              <a:rPr lang="en-US" i="1" u="sng" dirty="0"/>
              <a:t>the test conditions are hard to assume</a:t>
            </a:r>
            <a:r>
              <a:rPr lang="en-US" dirty="0"/>
              <a:t>.</a:t>
            </a:r>
          </a:p>
          <a:p>
            <a:r>
              <a:rPr lang="en-US" b="1" i="1" u="sng" dirty="0"/>
              <a:t>Configurability Bias</a:t>
            </a:r>
            <a:r>
              <a:rPr lang="en-US" b="1" i="1" dirty="0"/>
              <a:t> </a:t>
            </a:r>
            <a:r>
              <a:rPr lang="en-US" dirty="0"/>
              <a:t>– is induced at change of </a:t>
            </a:r>
            <a:r>
              <a:rPr lang="en-US" i="1" u="sng" dirty="0"/>
              <a:t>configuration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018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2272784" y="1949623"/>
            <a:ext cx="2620108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fore Avoidance Run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532339" y="1944571"/>
            <a:ext cx="1406865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270721" y="5509519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ght Plane Heading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2339" y="3038371"/>
            <a:ext cx="1408853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2272784" y="2483695"/>
            <a:ext cx="2620109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voidance Ru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72784" y="3040889"/>
            <a:ext cx="2619320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jectory Restriction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3270721" y="6116527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force Safety Margin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270443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</a:t>
            </a:r>
          </a:p>
        </p:txBody>
      </p:sp>
      <p:sp>
        <p:nvSpPr>
          <p:cNvPr id="14" name="Rounded Rectangle 9"/>
          <p:cNvSpPr/>
          <p:nvPr/>
        </p:nvSpPr>
        <p:spPr>
          <a:xfrm>
            <a:off x="5311609" y="1949622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tect Collision Cases</a:t>
            </a:r>
          </a:p>
        </p:txBody>
      </p:sp>
      <p:sp>
        <p:nvSpPr>
          <p:cNvPr id="15" name="Rounded Rectangle 9"/>
          <p:cNvSpPr/>
          <p:nvPr/>
        </p:nvSpPr>
        <p:spPr>
          <a:xfrm>
            <a:off x="5311609" y="3067264"/>
            <a:ext cx="3172669" cy="868561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olve Collision  Cases</a:t>
            </a:r>
          </a:p>
        </p:txBody>
      </p:sp>
      <p:sp>
        <p:nvSpPr>
          <p:cNvPr id="16" name="Rounded Rectangle 9"/>
          <p:cNvSpPr/>
          <p:nvPr/>
        </p:nvSpPr>
        <p:spPr>
          <a:xfrm>
            <a:off x="5311609" y="2480185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 Collision Cases</a:t>
            </a:r>
          </a:p>
        </p:txBody>
      </p:sp>
      <p:sp>
        <p:nvSpPr>
          <p:cNvPr id="17" name="Rounded Rectangle 9"/>
          <p:cNvSpPr/>
          <p:nvPr/>
        </p:nvSpPr>
        <p:spPr>
          <a:xfrm>
            <a:off x="530351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verging Maneuver</a:t>
            </a:r>
          </a:p>
        </p:txBody>
      </p:sp>
      <p:sp>
        <p:nvSpPr>
          <p:cNvPr id="18" name="Rounded Rectangle 9"/>
          <p:cNvSpPr/>
          <p:nvPr/>
        </p:nvSpPr>
        <p:spPr>
          <a:xfrm>
            <a:off x="6010536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d On Approach</a:t>
            </a:r>
          </a:p>
        </p:txBody>
      </p:sp>
      <p:cxnSp>
        <p:nvCxnSpPr>
          <p:cNvPr id="20" name="Straight Arrow Connector 19"/>
          <p:cNvCxnSpPr>
            <a:cxnSpLocks/>
            <a:stCxn id="6" idx="3"/>
            <a:endCxn id="5" idx="1"/>
          </p:cNvCxnSpPr>
          <p:nvPr/>
        </p:nvCxnSpPr>
        <p:spPr>
          <a:xfrm flipV="1">
            <a:off x="1939204" y="2134256"/>
            <a:ext cx="333580" cy="267515"/>
          </a:xfrm>
          <a:prstGeom prst="curvedConnector3">
            <a:avLst>
              <a:gd name="adj1" fmla="val 15735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cxnSpLocks/>
            <a:stCxn id="6" idx="3"/>
            <a:endCxn id="9" idx="1"/>
          </p:cNvCxnSpPr>
          <p:nvPr/>
        </p:nvCxnSpPr>
        <p:spPr>
          <a:xfrm>
            <a:off x="1939204" y="2401771"/>
            <a:ext cx="333580" cy="266557"/>
          </a:xfrm>
          <a:prstGeom prst="curvedConnector3">
            <a:avLst>
              <a:gd name="adj1" fmla="val 21006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cxnSpLocks/>
            <a:stCxn id="15" idx="2"/>
            <a:endCxn id="17" idx="0"/>
          </p:cNvCxnSpPr>
          <p:nvPr/>
        </p:nvCxnSpPr>
        <p:spPr>
          <a:xfrm rot="5400000">
            <a:off x="3845286" y="1935165"/>
            <a:ext cx="1051998" cy="5053318"/>
          </a:xfrm>
          <a:prstGeom prst="curvedConnector3">
            <a:avLst>
              <a:gd name="adj1" fmla="val 38299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26"/>
          <p:cNvCxnSpPr>
            <a:cxnSpLocks/>
            <a:stCxn id="15" idx="2"/>
            <a:endCxn id="13" idx="0"/>
          </p:cNvCxnSpPr>
          <p:nvPr/>
        </p:nvCxnSpPr>
        <p:spPr>
          <a:xfrm rot="5400000">
            <a:off x="5215332" y="3305211"/>
            <a:ext cx="1051998" cy="2313226"/>
          </a:xfrm>
          <a:prstGeom prst="curved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26"/>
          <p:cNvCxnSpPr>
            <a:cxnSpLocks/>
          </p:cNvCxnSpPr>
          <p:nvPr/>
        </p:nvCxnSpPr>
        <p:spPr>
          <a:xfrm rot="16200000" flipH="1">
            <a:off x="6585378" y="4257182"/>
            <a:ext cx="1051998" cy="426867"/>
          </a:xfrm>
          <a:prstGeom prst="curvedConnector3">
            <a:avLst>
              <a:gd name="adj1" fmla="val 4415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Straight Arrow Connector 26"/>
          <p:cNvCxnSpPr>
            <a:cxnSpLocks/>
            <a:stCxn id="18" idx="2"/>
            <a:endCxn id="7" idx="3"/>
          </p:cNvCxnSpPr>
          <p:nvPr/>
        </p:nvCxnSpPr>
        <p:spPr>
          <a:xfrm rot="5400000">
            <a:off x="6443510" y="4812850"/>
            <a:ext cx="337063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26"/>
          <p:cNvCxnSpPr>
            <a:cxnSpLocks/>
            <a:stCxn id="18" idx="2"/>
            <a:endCxn id="12" idx="3"/>
          </p:cNvCxnSpPr>
          <p:nvPr/>
        </p:nvCxnSpPr>
        <p:spPr>
          <a:xfrm rot="5400000">
            <a:off x="6140006" y="5116354"/>
            <a:ext cx="944071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Straight Arrow Connector 26"/>
          <p:cNvCxnSpPr>
            <a:cxnSpLocks/>
            <a:stCxn id="17" idx="2"/>
            <a:endCxn id="7" idx="1"/>
          </p:cNvCxnSpPr>
          <p:nvPr/>
        </p:nvCxnSpPr>
        <p:spPr>
          <a:xfrm rot="16200000" flipH="1">
            <a:off x="2389142" y="4812572"/>
            <a:ext cx="337063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Straight Arrow Connector 26"/>
          <p:cNvCxnSpPr>
            <a:cxnSpLocks/>
            <a:stCxn id="17" idx="2"/>
            <a:endCxn id="12" idx="1"/>
          </p:cNvCxnSpPr>
          <p:nvPr/>
        </p:nvCxnSpPr>
        <p:spPr>
          <a:xfrm rot="16200000" flipH="1">
            <a:off x="2085638" y="5116076"/>
            <a:ext cx="944071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cxnSpLocks/>
            <a:stCxn id="8" idx="3"/>
            <a:endCxn id="10" idx="1"/>
          </p:cNvCxnSpPr>
          <p:nvPr/>
        </p:nvCxnSpPr>
        <p:spPr>
          <a:xfrm>
            <a:off x="1941192" y="3495571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cxnSpLocks/>
            <a:stCxn id="10" idx="3"/>
            <a:endCxn id="15" idx="1"/>
          </p:cNvCxnSpPr>
          <p:nvPr/>
        </p:nvCxnSpPr>
        <p:spPr>
          <a:xfrm>
            <a:off x="4892104" y="3498089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cxnSpLocks/>
            <a:stCxn id="9" idx="3"/>
            <a:endCxn id="16" idx="1"/>
          </p:cNvCxnSpPr>
          <p:nvPr/>
        </p:nvCxnSpPr>
        <p:spPr>
          <a:xfrm flipV="1">
            <a:off x="4892893" y="2664818"/>
            <a:ext cx="418716" cy="3510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cxnSpLocks/>
            <a:stCxn id="5" idx="3"/>
            <a:endCxn id="14" idx="1"/>
          </p:cNvCxnSpPr>
          <p:nvPr/>
        </p:nvCxnSpPr>
        <p:spPr>
          <a:xfrm flipV="1">
            <a:off x="4892892" y="2134255"/>
            <a:ext cx="418717" cy="1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9"/>
          <p:cNvSpPr/>
          <p:nvPr/>
        </p:nvSpPr>
        <p:spPr>
          <a:xfrm>
            <a:off x="534327" y="1396928"/>
            <a:ext cx="1406865" cy="363009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74" name="Rounded Rectangle 9"/>
          <p:cNvSpPr/>
          <p:nvPr/>
        </p:nvSpPr>
        <p:spPr>
          <a:xfrm>
            <a:off x="2271996" y="1389714"/>
            <a:ext cx="2620108" cy="369266"/>
          </a:xfrm>
          <a:prstGeom prst="roundRect">
            <a:avLst/>
          </a:prstGeom>
          <a:solidFill>
            <a:srgbClr val="E42020"/>
          </a:solidFill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6" name="Rounded Rectangle 9"/>
          <p:cNvSpPr/>
          <p:nvPr/>
        </p:nvSpPr>
        <p:spPr>
          <a:xfrm>
            <a:off x="5311608" y="1396662"/>
            <a:ext cx="3172669" cy="369266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76893" y="4122624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based on: </a:t>
            </a:r>
          </a:p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Avoidance rol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76893" y="5875522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Forced invoke:</a:t>
            </a:r>
          </a:p>
        </p:txBody>
      </p:sp>
      <p:cxnSp>
        <p:nvCxnSpPr>
          <p:cNvPr id="35" name="Straight Arrow Connector 34"/>
          <p:cNvCxnSpPr>
            <a:cxnSpLocks/>
          </p:cNvCxnSpPr>
          <p:nvPr/>
        </p:nvCxnSpPr>
        <p:spPr>
          <a:xfrm>
            <a:off x="1943990" y="1591606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4892893" y="1593077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26"/>
          <p:cNvCxnSpPr>
            <a:cxnSpLocks/>
            <a:stCxn id="76" idx="0"/>
            <a:endCxn id="76" idx="3"/>
          </p:cNvCxnSpPr>
          <p:nvPr/>
        </p:nvCxnSpPr>
        <p:spPr>
          <a:xfrm rot="16200000" flipH="1">
            <a:off x="7598793" y="695811"/>
            <a:ext cx="184633" cy="1586334"/>
          </a:xfrm>
          <a:prstGeom prst="bentConnector4">
            <a:avLst>
              <a:gd name="adj1" fmla="val -123813"/>
              <a:gd name="adj2" fmla="val 114411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856512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83649" y="1119553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639085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Context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23554" name="Picture 2" descr="Výsledok vyhľadávania obrázkov pre dopyt story ti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31" y="1063903"/>
            <a:ext cx="7001801" cy="510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ight Plane Heading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376297966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Collision Zone:</a:t>
            </a:r>
            <a:r>
              <a:rPr lang="en-US" b="1" dirty="0"/>
              <a:t> </a:t>
            </a:r>
            <a:r>
              <a:rPr lang="en-US" dirty="0"/>
              <a:t>For given </a:t>
            </a:r>
            <a:r>
              <a:rPr lang="en-US" i="1" u="sng" dirty="0"/>
              <a:t>vehicle position</a:t>
            </a:r>
            <a:r>
              <a:rPr lang="en-US" dirty="0"/>
              <a:t> and </a:t>
            </a:r>
            <a:r>
              <a:rPr lang="en-US" i="1" u="sng" dirty="0"/>
              <a:t>collision point</a:t>
            </a:r>
            <a:r>
              <a:rPr lang="en-US" dirty="0"/>
              <a:t> there exist a space division by plane defined between points parallel with Z axis.  The separation divides operation space into:</a:t>
            </a:r>
          </a:p>
          <a:p>
            <a:r>
              <a:rPr lang="en-US" i="1" u="sng" dirty="0"/>
              <a:t>Collision zone</a:t>
            </a:r>
            <a:r>
              <a:rPr lang="en-US" dirty="0"/>
              <a:t> 	– all points on left from vehicle viewpoint,</a:t>
            </a:r>
          </a:p>
          <a:p>
            <a:r>
              <a:rPr lang="en-US" i="1" u="sng" dirty="0"/>
              <a:t>Free zone</a:t>
            </a:r>
            <a:r>
              <a:rPr lang="en-US" dirty="0"/>
              <a:t> 		– all points on the right form vehicle viewpoint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Objective:</a:t>
            </a:r>
            <a:r>
              <a:rPr lang="en-US" dirty="0"/>
              <a:t> Disable trajectories which ar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eading into Collision zon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Leading into Collision zone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o</a:t>
            </a:r>
            <a:r>
              <a:rPr lang="en-US" dirty="0"/>
              <a:t>] Collision Point			[</a:t>
            </a:r>
            <a:r>
              <a:rPr lang="en-US" dirty="0">
                <a:solidFill>
                  <a:srgbClr val="00B050"/>
                </a:solidFill>
              </a:rPr>
              <a:t>-</a:t>
            </a:r>
            <a:r>
              <a:rPr lang="en-US" dirty="0"/>
              <a:t>] Enabled Trajectories	[</a:t>
            </a:r>
            <a:r>
              <a:rPr lang="en-US" dirty="0">
                <a:highlight>
                  <a:srgbClr val="008000"/>
                </a:highlight>
              </a:rPr>
              <a:t> </a:t>
            </a:r>
            <a:r>
              <a:rPr lang="en-US" dirty="0"/>
              <a:t>] Reachable cells </a:t>
            </a:r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-</a:t>
            </a:r>
            <a:r>
              <a:rPr lang="en-US" dirty="0"/>
              <a:t>] Separation Line		[</a:t>
            </a:r>
            <a:r>
              <a:rPr lang="en-US" dirty="0">
                <a:solidFill>
                  <a:schemeClr val="tx2"/>
                </a:solidFill>
              </a:rPr>
              <a:t>-</a:t>
            </a:r>
            <a:r>
              <a:rPr lang="en-US" dirty="0"/>
              <a:t>] Disabled trajectories	[</a:t>
            </a:r>
            <a:r>
              <a:rPr lang="en-US" dirty="0">
                <a:highlight>
                  <a:srgbClr val="FF0000"/>
                </a:highlight>
              </a:rPr>
              <a:t> </a:t>
            </a:r>
            <a:r>
              <a:rPr lang="en-US" dirty="0"/>
              <a:t>] Unreachable cells</a:t>
            </a:r>
          </a:p>
        </p:txBody>
      </p:sp>
    </p:spTree>
    <p:extLst>
      <p:ext uri="{BB962C8B-B14F-4D97-AF65-F5344CB8AC3E}">
        <p14:creationId xmlns:p14="http://schemas.microsoft.com/office/powerpoint/2010/main" val="19425929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2697"/>
            <a:ext cx="9144000" cy="495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4575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99703"/>
            <a:ext cx="9144000" cy="500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2305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5919"/>
            <a:ext cx="9144000" cy="4972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361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6048"/>
            <a:ext cx="9144000" cy="499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3827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51208"/>
            <a:ext cx="9144000" cy="49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879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9790"/>
            <a:ext cx="9144000" cy="501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6093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5570"/>
            <a:ext cx="9144000" cy="498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5139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Enforce Safety Margi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544836727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2"/>
              <p:cNvSpPr txBox="1">
                <a:spLocks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</p:spPr>
            <p:txBody>
              <a:bodyPr/>
              <a:lstStyle>
                <a:lvl1pPr marL="1828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1pPr>
                <a:lvl2pPr marL="3657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6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2pPr>
                <a:lvl3pPr marL="6400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SzPct val="90000"/>
                  <a:buFont typeface="Wingdings" panose="05000000000000000000" pitchFamily="2" charset="2"/>
                  <a:buChar char="§"/>
                  <a:defRPr sz="14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3pPr>
                <a:lvl4pPr marL="8229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2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4pPr>
                <a:lvl5pPr marL="100584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1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dirty="0"/>
                  <a:t>Collision zone: </a:t>
                </a:r>
                <a:r>
                  <a:rPr lang="en-US" dirty="0"/>
                  <a:t>Well clear zone defined as: 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𝑋𝑌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𝑠𝑡𝑎𝑛𝑐𝑒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𝑜𝑙𝑙𝑖𝑠𝑖𝑜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𝑖𝑟𝑠𝑝𝑎𝑐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𝑎𝑓𝑒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𝑎𝑟𝑔𝑖𝑛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𝑡𝑎𝑟𝑡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Z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Airspace</m:t>
                          </m:r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point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𝑛𝑑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b="1" dirty="0"/>
                  <a:t>Note: </a:t>
                </a:r>
                <a:r>
                  <a:rPr lang="en-US" i="1" u="sng" dirty="0"/>
                  <a:t>Collision zone Safety Margin is greater than Emergency Collision Safety Margin</a:t>
                </a:r>
                <a:r>
                  <a:rPr lang="en-US" dirty="0"/>
                  <a:t>, Collision zone Safety Margin is enforced by Aviation Authority.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en-US" b="1" i="1" u="sng" dirty="0"/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i="1" u="sng" dirty="0"/>
                  <a:t>Objective:</a:t>
                </a:r>
                <a:r>
                  <a:rPr lang="en-US" dirty="0"/>
                  <a:t> Disable trajectories which are: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Leading into Collision zone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eading is not considered</a:t>
                </a:r>
                <a:r>
                  <a:rPr lang="en-US" dirty="0"/>
                  <a:t>, Collision point can change in timeframes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o</a:t>
                </a:r>
                <a:r>
                  <a:rPr lang="en-US" dirty="0"/>
                  <a:t>] Collision Point			[</a:t>
                </a:r>
                <a:r>
                  <a:rPr lang="en-US" dirty="0">
                    <a:solidFill>
                      <a:srgbClr val="00B050"/>
                    </a:solidFill>
                  </a:rPr>
                  <a:t>--</a:t>
                </a:r>
                <a:r>
                  <a:rPr lang="en-US" dirty="0"/>
                  <a:t>] Enabled Trajectories	[</a:t>
                </a:r>
                <a:r>
                  <a:rPr lang="en-US" dirty="0">
                    <a:highlight>
                      <a:srgbClr val="008000"/>
                    </a:highlight>
                  </a:rPr>
                  <a:t> </a:t>
                </a:r>
                <a:r>
                  <a:rPr lang="en-US" dirty="0"/>
                  <a:t>] Reachable cells 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--</a:t>
                </a:r>
                <a:r>
                  <a:rPr lang="en-US" dirty="0"/>
                  <a:t>] Separation Line		[</a:t>
                </a:r>
                <a:r>
                  <a:rPr lang="en-US" dirty="0">
                    <a:solidFill>
                      <a:schemeClr val="tx2"/>
                    </a:solidFill>
                  </a:rPr>
                  <a:t>--</a:t>
                </a:r>
                <a:r>
                  <a:rPr lang="en-US" dirty="0"/>
                  <a:t>] Disabled trajectories	[</a:t>
                </a:r>
                <a:r>
                  <a:rPr lang="en-US" dirty="0">
                    <a:highlight>
                      <a:srgbClr val="FF0000"/>
                    </a:highlight>
                  </a:rPr>
                  <a:t> </a:t>
                </a:r>
                <a:r>
                  <a:rPr lang="en-US" dirty="0"/>
                  <a:t>] Unreachable cells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00B0F0"/>
                    </a:solidFill>
                  </a:rPr>
                  <a:t>.-</a:t>
                </a:r>
                <a:r>
                  <a:rPr lang="en-US" dirty="0"/>
                  <a:t>] Safety Margin Boundary (Collision zone boundary)</a:t>
                </a:r>
              </a:p>
            </p:txBody>
          </p:sp>
        </mc:Choice>
        <mc:Fallback xmlns="">
          <p:sp>
            <p:nvSpPr>
              <p:cNvPr id="8" name="Content Placehold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  <a:blipFill>
                <a:blip r:embed="rId2"/>
                <a:stretch>
                  <a:fillRect l="-606" t="-894" b="-29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3169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08477"/>
            <a:ext cx="9144000" cy="499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644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5337" y="27644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Speech Bubble: Rectangle with Corners Rounded 28"/>
          <p:cNvSpPr/>
          <p:nvPr/>
        </p:nvSpPr>
        <p:spPr>
          <a:xfrm>
            <a:off x="3404305" y="388308"/>
            <a:ext cx="3300610" cy="408623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this architecture:</a:t>
            </a:r>
          </a:p>
        </p:txBody>
      </p:sp>
      <p:pic>
        <p:nvPicPr>
          <p:cNvPr id="33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4225082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Speech Bubble: Rectangle with Corners Rounded 38"/>
          <p:cNvSpPr/>
          <p:nvPr/>
        </p:nvSpPr>
        <p:spPr>
          <a:xfrm>
            <a:off x="1175131" y="4159418"/>
            <a:ext cx="1904364" cy="715089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t us focus on Rules</a:t>
            </a:r>
          </a:p>
        </p:txBody>
      </p:sp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39793"/>
            <a:ext cx="9144000" cy="495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7014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11536"/>
            <a:ext cx="9144000" cy="492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2832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2285"/>
            <a:ext cx="9144000" cy="500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1600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2666"/>
            <a:ext cx="9144000" cy="506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4932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9553"/>
            <a:ext cx="9144000" cy="501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39246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6779"/>
            <a:ext cx="9144000" cy="492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68048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etect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Every </a:t>
            </a:r>
            <a:r>
              <a:rPr lang="en-US" i="1" u="sng" dirty="0"/>
              <a:t>Decision Point</a:t>
            </a:r>
            <a:r>
              <a:rPr lang="en-US" dirty="0"/>
              <a:t>  in UAS main </a:t>
            </a:r>
            <a:r>
              <a:rPr lang="en-US" i="1" u="sng" dirty="0"/>
              <a:t>navigation loop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i="1" dirty="0"/>
              <a:t> </a:t>
            </a:r>
            <a:r>
              <a:rPr lang="en-US" dirty="0"/>
              <a:t>Prepare Collision Cases for evasive maneuvers application </a:t>
            </a:r>
            <a:r>
              <a:rPr lang="en-US" b="1" i="1" u="sng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UTM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/Update own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erge Collision cases based on source priority order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elect Active Collision Cases based on following condition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Active participation</a:t>
            </a:r>
            <a:r>
              <a:rPr lang="en-US" dirty="0"/>
              <a:t> in collision </a:t>
            </a:r>
            <a:r>
              <a:rPr lang="en-US" i="1" dirty="0"/>
              <a:t>case =&gt; </a:t>
            </a:r>
            <a:r>
              <a:rPr lang="en-US" i="1" dirty="0" err="1"/>
              <a:t>avoidanceRole</a:t>
            </a:r>
            <a:r>
              <a:rPr lang="en-US" i="1" dirty="0"/>
              <a:t> ~= Right of the Way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llision Point is in front of vehicle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Emergency mode </a:t>
            </a:r>
            <a:r>
              <a:rPr lang="en-US" dirty="0"/>
              <a:t>of all Collision Case participants is </a:t>
            </a:r>
            <a:r>
              <a:rPr lang="en-US" b="1" i="1" u="sng" dirty="0"/>
              <a:t>INACTIVE.</a:t>
            </a:r>
            <a:endParaRPr lang="en-US" i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rder Collision Cases </a:t>
            </a:r>
            <a:r>
              <a:rPr lang="en-US" i="1" u="sng" dirty="0"/>
              <a:t>based on </a:t>
            </a:r>
            <a:r>
              <a:rPr lang="en-US" b="1" i="1" u="sng" dirty="0"/>
              <a:t>SEVERENITY</a:t>
            </a:r>
            <a:r>
              <a:rPr lang="en-US" i="1" dirty="0"/>
              <a:t> </a:t>
            </a:r>
            <a:r>
              <a:rPr lang="en-US" dirty="0"/>
              <a:t>(descending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f there is at </a:t>
            </a:r>
            <a:r>
              <a:rPr lang="en-US" i="1" u="sng" dirty="0"/>
              <a:t>least one active collision case enforce inner Avoidance Ru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284447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Before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TM/UAS Col.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ean Avoidance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 higher Avoidance priority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Collision Cases selection, Prioritiz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181804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esolv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is rule is invoked only if there is any active Collision Case in given Navigation Grid timeframe, moreover Avoidance Grid should be empty.</a:t>
            </a:r>
            <a:endParaRPr lang="en-US" i="1" u="sng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Based on own calculated collision cases and UTM directives (has higher priority)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Active Collision Cases(Avoidance Role, Collision Poin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nforce Rules </a:t>
            </a:r>
            <a:r>
              <a:rPr lang="en-US" i="1" u="sng" dirty="0"/>
              <a:t>based on Avoidance Role and Collision Point</a:t>
            </a:r>
            <a:r>
              <a:rPr lang="en-US" dirty="0"/>
              <a:t> a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nverging Maneuver 	– invoke Rule: Converging Maneuver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ead On approach 	– invoke Rule: Head On Approach 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Overtake 			– invoke Rule: Overtake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Emergency Maneuver 	– register intruder object into UAS Mission Contro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818414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rajectory restrictio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UTM collision Case, Resolution mandate for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Rules of Ai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Emergenc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26050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los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ere </a:t>
            </a:r>
            <a:r>
              <a:rPr lang="en-US" i="1" u="sng" dirty="0"/>
              <a:t>exists at least one  Active Collision Cas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Ensure that </a:t>
            </a:r>
            <a:r>
              <a:rPr lang="en-US" i="1" u="sng" dirty="0"/>
              <a:t>multiple Avoidance Rules application gives feasible Avoidance Strategy</a:t>
            </a:r>
            <a:r>
              <a:rPr lang="en-US" dirty="0"/>
              <a:t>, otherwise enter </a:t>
            </a:r>
            <a:r>
              <a:rPr lang="en-US" b="1" i="1" u="sng" dirty="0"/>
              <a:t>EMERGENCY MODE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ect rules</a:t>
            </a:r>
            <a:r>
              <a:rPr lang="en-US" dirty="0"/>
              <a:t> applied on </a:t>
            </a:r>
            <a:r>
              <a:rPr lang="en-US" i="1" u="sng" dirty="0"/>
              <a:t>Navigation Grid</a:t>
            </a:r>
            <a:r>
              <a:rPr lang="en-US" dirty="0"/>
              <a:t> from </a:t>
            </a:r>
            <a:r>
              <a:rPr lang="en-US" i="1" u="sng" dirty="0"/>
              <a:t>Active Collision Cases</a:t>
            </a:r>
            <a:r>
              <a:rPr lang="en-US" dirty="0"/>
              <a:t>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alculate</a:t>
            </a:r>
            <a:r>
              <a:rPr lang="en-US" dirty="0"/>
              <a:t> possible </a:t>
            </a:r>
            <a:r>
              <a:rPr lang="en-US" i="1" u="sng" dirty="0"/>
              <a:t>routes for Avoidance</a:t>
            </a:r>
            <a:r>
              <a:rPr lang="en-US" dirty="0"/>
              <a:t> (there may be none),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/>
              <a:t>If there is no Active Route</a:t>
            </a:r>
            <a:r>
              <a:rPr lang="en-US" dirty="0"/>
              <a:t>: </a:t>
            </a:r>
            <a:r>
              <a:rPr lang="en-US" i="1" u="sng" dirty="0"/>
              <a:t>For each Intruder</a:t>
            </a:r>
            <a:r>
              <a:rPr lang="en-US" dirty="0"/>
              <a:t>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u="sng" dirty="0"/>
              <a:t>Issue warning message</a:t>
            </a:r>
            <a:r>
              <a:rPr lang="en-US" dirty="0"/>
              <a:t> to containing expected </a:t>
            </a:r>
            <a:r>
              <a:rPr lang="en-US" i="1" u="sng" dirty="0"/>
              <a:t>Collision Point</a:t>
            </a:r>
            <a:r>
              <a:rPr lang="en-US" dirty="0"/>
              <a:t>, and, </a:t>
            </a:r>
            <a:br>
              <a:rPr lang="en-US" dirty="0"/>
            </a:br>
            <a:r>
              <a:rPr lang="en-US" i="1" u="sng" dirty="0"/>
              <a:t>Preferred Separation Type</a:t>
            </a:r>
            <a:r>
              <a:rPr lang="en-US" dirty="0"/>
              <a:t>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i="1" u="sng" dirty="0"/>
              <a:t>Intruder</a:t>
            </a:r>
            <a:r>
              <a:rPr lang="en-US" dirty="0"/>
              <a:t> objects for </a:t>
            </a:r>
            <a:r>
              <a:rPr lang="en-US" i="1" u="sng" dirty="0"/>
              <a:t>Avoidance Grid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alculate </a:t>
            </a:r>
            <a:r>
              <a:rPr lang="en-US" i="1" u="sng" dirty="0"/>
              <a:t>Evasive Maneuver</a:t>
            </a:r>
            <a:r>
              <a:rPr lang="en-US" dirty="0"/>
              <a:t> based on </a:t>
            </a:r>
            <a:r>
              <a:rPr lang="en-US" i="1" u="sng" dirty="0"/>
              <a:t>Expected Separation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</a:t>
            </a:r>
            <a:r>
              <a:rPr lang="en-US" u="sng" dirty="0"/>
              <a:t>UTM</a:t>
            </a:r>
            <a:r>
              <a:rPr lang="en-US" dirty="0"/>
              <a:t> about Collision Case </a:t>
            </a:r>
            <a:r>
              <a:rPr lang="en-US" i="1" u="sng" dirty="0"/>
              <a:t>Resolutions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UTM with </a:t>
            </a:r>
            <a:r>
              <a:rPr lang="en-US" b="1" i="1" u="sng" dirty="0"/>
              <a:t>Planned Trajectory</a:t>
            </a:r>
            <a:r>
              <a:rPr lang="en-US" dirty="0"/>
              <a:t> and </a:t>
            </a:r>
            <a:r>
              <a:rPr lang="en-US" b="1" i="1" u="sng" dirty="0"/>
              <a:t>Avoidance Mode</a:t>
            </a:r>
            <a:r>
              <a:rPr lang="en-US" dirty="0"/>
              <a:t>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8764465"/>
              </p:ext>
            </p:extLst>
          </p:nvPr>
        </p:nvGraphicFramePr>
        <p:xfrm>
          <a:off x="530352" y="5329018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28926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fter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Resolu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t least one route in 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avigation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mergency che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orce Emergency Mode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ose Collision 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4618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onverging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b="1" dirty="0"/>
              <a:t> </a:t>
            </a:r>
            <a:r>
              <a:rPr lang="en-US" dirty="0"/>
              <a:t>When role of UAS is Converging and Avoidance Grid is Empty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dirty="0"/>
              <a:t> </a:t>
            </a:r>
            <a:r>
              <a:rPr lang="en-US" dirty="0"/>
              <a:t>Ensure that UAS will not enter into Intruder “Well clear” </a:t>
            </a:r>
            <a:r>
              <a:rPr lang="en-US" dirty="0" err="1"/>
              <a:t>barell</a:t>
            </a:r>
            <a:r>
              <a:rPr lang="en-US" dirty="0"/>
              <a:t>.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Left-Side Maneuver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Converging Safety Margin Breac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turn to original Pat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Wake turbule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9987249"/>
              </p:ext>
            </p:extLst>
          </p:nvPr>
        </p:nvGraphicFramePr>
        <p:xfrm>
          <a:off x="532340" y="4124473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2"/>
                          </a:solidFill>
                        </a:rPr>
                        <a:t>RunRules</a:t>
                      </a: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9938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ered Functionality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Speech Bubble: Rectangle with Corners Rounded 28"/>
          <p:cNvSpPr/>
          <p:nvPr/>
        </p:nvSpPr>
        <p:spPr>
          <a:xfrm>
            <a:off x="5987157" y="642094"/>
            <a:ext cx="2691264" cy="2835354"/>
          </a:xfrm>
          <a:prstGeom prst="wedgeRoundRectCallout">
            <a:avLst>
              <a:gd name="adj1" fmla="val -81431"/>
              <a:gd name="adj2" fmla="val -46040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 based framework cover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planning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dversarial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atic restrictions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,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</a:t>
            </a:r>
          </a:p>
        </p:txBody>
      </p:sp>
      <p:pic>
        <p:nvPicPr>
          <p:cNvPr id="25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079" y="230081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925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b="1" dirty="0"/>
              <a:t> </a:t>
            </a:r>
            <a:r>
              <a:rPr lang="en-US" dirty="0"/>
              <a:t>When role of UAS is Converging and Avoidance Grid is Empty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dirty="0"/>
              <a:t> </a:t>
            </a:r>
            <a:r>
              <a:rPr lang="en-US" dirty="0"/>
              <a:t>Ensure that UAS will not enter into Intruder “Well clear” barbell.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Left-Side Maneuver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Converging Safety Margin Breach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turn to original Path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Wake turbulenc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nforce Round-about behavior,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8509029"/>
              </p:ext>
            </p:extLst>
          </p:nvPr>
        </p:nvGraphicFramePr>
        <p:xfrm>
          <a:off x="530352" y="4052571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un rules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655554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Overtak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Invoked by rule </a:t>
            </a:r>
            <a:r>
              <a:rPr lang="en-US" i="1" u="sng" dirty="0"/>
              <a:t>Collision Case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Divergence Waypoint:</a:t>
            </a:r>
            <a:r>
              <a:rPr lang="en-US" dirty="0"/>
              <a:t> waypoint to diverge from original UAS path to ensure Intruder safety, within unchanged intruder velocity and head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nvergence Waypoint:</a:t>
            </a:r>
            <a:r>
              <a:rPr lang="en-US" dirty="0"/>
              <a:t> waypoint when convergence to original UAS path is enabled, within unchanged intruder velocity and head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 </a:t>
            </a:r>
          </a:p>
          <a:p>
            <a:pPr marL="342900" indent="-342900">
              <a:buAutoNum type="arabicPeriod"/>
            </a:pPr>
            <a:r>
              <a:rPr lang="en-US" dirty="0"/>
              <a:t>Calculate Divergence Waypoint </a:t>
            </a:r>
          </a:p>
          <a:p>
            <a:pPr marL="342900" indent="-342900">
              <a:buAutoNum type="arabicPeriod"/>
            </a:pPr>
            <a:r>
              <a:rPr lang="en-US" dirty="0"/>
              <a:t>Calculate Convergence Waypoint</a:t>
            </a:r>
          </a:p>
          <a:p>
            <a:pPr marL="342900" indent="-342900">
              <a:buAutoNum type="arabicPeriod"/>
            </a:pPr>
            <a:r>
              <a:rPr lang="en-US" dirty="0"/>
              <a:t>Enforce Divergence/Convergence waypoi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377377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,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Velocity 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&gt;&gt;&gt;&gt;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Intruder Velo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alculate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vergence W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nvergence W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309118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6" y="1193483"/>
            <a:ext cx="9144000" cy="49962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2514600" y="4598377"/>
            <a:ext cx="219808" cy="219808"/>
          </a:xfrm>
          <a:prstGeom prst="ellipse">
            <a:avLst/>
          </a:prstGeom>
          <a:solidFill>
            <a:schemeClr val="tx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5436926" y="4598377"/>
            <a:ext cx="219808" cy="219808"/>
          </a:xfrm>
          <a:prstGeom prst="ellipse">
            <a:avLst/>
          </a:prstGeom>
          <a:solidFill>
            <a:srgbClr val="00B050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𝐷𝑖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𝐶𝑜𝑛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 9"/>
          <p:cNvSpPr/>
          <p:nvPr/>
        </p:nvSpPr>
        <p:spPr>
          <a:xfrm>
            <a:off x="2834054" y="2763716"/>
            <a:ext cx="219808" cy="219808"/>
          </a:xfrm>
          <a:prstGeom prst="ellipse">
            <a:avLst/>
          </a:prstGeom>
          <a:solidFill>
            <a:schemeClr val="bg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𝐶𝑜𝑙𝑙𝑖𝑠𝑖𝑜𝑛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𝑃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407803" y="2577321"/>
                <a:ext cx="91691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𝑈𝐴𝑆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803" y="2577321"/>
                <a:ext cx="916918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𝑂𝑣𝑒𝑟𝑡𝑎𝑘𝑒𝑛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𝑉𝑒h𝑖𝑐𝑙𝑒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920255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Calc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Main idea is to calculate </a:t>
                </a:r>
                <a:r>
                  <a:rPr lang="en-US" b="1" i="1" u="sng" dirty="0"/>
                  <a:t>Safe Offset for Overtake Maneuver</a:t>
                </a:r>
                <a:r>
                  <a:rPr lang="en-US" dirty="0"/>
                  <a:t>,  we hav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𝑛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Decision distance</a:t>
                </a:r>
                <a:r>
                  <a:rPr lang="en-US" dirty="0"/>
                  <a:t> is distance until next framework decision is mad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𝑒𝑐𝑖𝑠𝑖𝑜𝑛𝐷𝑖𝑠𝑡𝑎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𝐷𝑒𝑐𝑖𝑠𝑖𝑜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𝑓𝑟𝑎𝑚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Overtake middle distance</a:t>
                </a:r>
                <a:r>
                  <a:rPr lang="en-US" dirty="0"/>
                  <a:t> is length of hypotenuse for triangle where positional difference  and safety margin are  </a:t>
                </a:r>
                <a:r>
                  <a:rPr lang="en-US" dirty="0" err="1"/>
                  <a:t>cathetuses</a:t>
                </a:r>
                <a:r>
                  <a:rPr lang="en-US" dirty="0"/>
                  <a:t>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𝑀𝑖𝑑𝑑𝑙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begChr m:val="‖"/>
                                        <m:endChr m:val="‖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𝑢𝑎𝑠𝑃𝑜𝑠𝑖𝑡𝑖𝑜𝑛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r>
                                          <a:rPr lang="en-US" b="0" i="1" smtClean="0">
                                            <a:latin typeface="Cambria Math" panose="02040503050406030204" pitchFamily="18" charset="0"/>
                                          </a:rPr>
                                          <m:t>𝑐𝑜𝑙𝑙𝑖𝑠𝑖𝑜𝑛𝑃𝑜𝑖𝑛𝑡</m:t>
                                        </m:r>
                                      </m:e>
                                    </m:d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𝑎𝑓𝑒𝑡𝑦𝑀𝑎𝑟𝑔𝑖</m:t>
                                </m:r>
                                <m:sSup>
                                  <m:sSup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p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e>
                            </m:mr>
                          </m:m>
                        </m:e>
                      </m:ra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b="1" i="1" u="sng" dirty="0"/>
                  <a:t>Safe offset</a:t>
                </a:r>
                <a:r>
                  <a:rPr lang="en-US" b="1" i="1" dirty="0"/>
                  <a:t> </a:t>
                </a:r>
                <a:r>
                  <a:rPr lang="en-US" dirty="0"/>
                  <a:t>is then considered as combination of:</a:t>
                </a:r>
                <a:endParaRPr lang="en-US" b="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𝑠𝑎𝑓𝑒𝑂𝑓𝑓𝑠𝑒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𝑣𝑒𝑟𝑡𝑎𝑘𝑒𝑀𝑖𝑑𝑑𝑙𝑒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</m:e>
                        </m:mr>
                        <m:m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𝑑𝑒𝑐𝑖𝑠𝑖𝑜𝑛𝐷𝑖𝑠𝑡𝑎𝑛𝑐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𝑤𝑎𝑦𝑝𝑜𝑖𝑛𝑡𝑅𝑒𝑎𝑐h𝑀𝑎𝑟𝑔𝑖𝑛</m:t>
                            </m:r>
                          </m:e>
                        </m:mr>
                      </m:m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[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013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Calc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>
              <a:xfrm>
                <a:off x="532340" y="871734"/>
                <a:ext cx="8046720" cy="4846320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b="1" dirty="0">
                    <a:latin typeface="Cambria Math" panose="02040503050406030204" pitchFamily="18" charset="0"/>
                  </a:rPr>
                  <a:t>Simplification:</a:t>
                </a:r>
                <a:r>
                  <a:rPr lang="en-US" dirty="0">
                    <a:latin typeface="Cambria Math" panose="02040503050406030204" pitchFamily="18" charset="0"/>
                  </a:rPr>
                  <a:t> UAS and Overtaken are in Local coordinate frame heading in X+ axis direction (X+ front of vehicles, X- back of vehicles, Y- right side, Y+ left side), </a:t>
                </a:r>
                <a:r>
                  <a:rPr lang="en-US" i="1" u="sng" dirty="0">
                    <a:latin typeface="Cambria Math" panose="02040503050406030204" pitchFamily="18" charset="0"/>
                  </a:rPr>
                  <a:t>Collision Point</a:t>
                </a:r>
                <a:r>
                  <a:rPr lang="en-US" dirty="0">
                    <a:latin typeface="Cambria Math" panose="02040503050406030204" pitchFamily="18" charset="0"/>
                  </a:rPr>
                  <a:t> is considered as [0;0;0], </a:t>
                </a:r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</a:rPr>
                  <a:t>Divergence point in local coordinates</a:t>
                </a:r>
                <a:r>
                  <a:rPr lang="en-US" dirty="0">
                    <a:latin typeface="Cambria Math" panose="02040503050406030204" pitchFamily="18" charset="0"/>
                  </a:rPr>
                  <a:t> is given as right offset of safety margin and decision distance:</a:t>
                </a:r>
                <a:endParaRPr lang="en-US" b="0" i="1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𝑣𝑒𝑟𝑔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𝑑𝑒𝑐𝑖𝑠𝑖𝑜𝑛𝐷𝑖𝑠𝑡𝑎𝑛𝑐𝑒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𝑎𝑓𝑒𝑡𝑦𝑀𝑎𝑟𝑔𝑖𝑛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Convergence point in local coordinates</a:t>
                </a:r>
                <a:r>
                  <a:rPr lang="en-US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is given frontal </a:t>
                </a:r>
                <a:r>
                  <a:rPr lang="en-US" dirty="0" err="1">
                    <a:latin typeface="Cambria Math" panose="02040503050406030204" pitchFamily="18" charset="0"/>
                    <a:ea typeface="Cambria Math" panose="02040503050406030204" pitchFamily="18" charset="0"/>
                  </a:rPr>
                  <a:t>safeOffset</a:t>
                </a:r>
                <a:r>
                  <a:rPr lang="en-US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and right offset of safety margin and decision distance:</a:t>
                </a:r>
              </a:p>
              <a:p>
                <a:pPr marL="0" indent="0" algn="ctr">
                  <a:buNone/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𝑐𝑜𝑛𝑣𝑒𝑟𝑔𝑒𝑛𝑐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𝑎𝑓𝑒𝑂𝑓𝑓𝑠𝑒𝑡</m:t>
                              </m:r>
                            </m:e>
                          </m:mr>
                          <m:m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𝑐𝑖𝑠𝑖𝑜𝑛𝐷𝑖𝑠𝑡𝑎𝑛𝑐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𝑎𝑓𝑒𝑡𝑦𝑀𝑎𝑟𝑔𝑖𝑛</m:t>
                              </m:r>
                            </m:e>
                          </m:mr>
                          <m:m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</m:m>
                      </m:e>
                    </m:d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,[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endParaRPr lang="en-US" b="1" i="1" u="sng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Convergence and Divergence waypoint  in global coordinate frame:</a:t>
                </a: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𝑣𝑒𝑟𝑔𝑒𝑛𝑐𝑒𝑊𝑎𝑦𝑝𝑜𝑖𝑛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𝑜𝑙𝑙𝑖𝑠𝑖𝑜𝑛𝑃𝑜𝑖𝑛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𝑋𝑌𝑍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𝑜𝑣𝑒𝑟𝑡𝑎𝑘𝑒𝑛𝑂𝑟𝑖𝑒𝑛𝑡𝑎𝑡𝑖𝑜𝑛</m:t>
                                </m:r>
                              </m:e>
                            </m:d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…</m:t>
                            </m:r>
                          </m:e>
                        </m:mr>
                        <m:m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…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𝑑𝑖𝑣𝑒𝑟𝑔𝑒𝑛𝑐𝑒</m:t>
                            </m:r>
                          </m:e>
                        </m:mr>
                      </m:m>
                    </m:oMath>
                  </m:oMathPara>
                </a14:m>
                <a:endParaRPr lang="en-US" dirty="0"/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𝑜𝑛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𝑣𝑒𝑟𝑔𝑒𝑛𝑐𝑒𝑊𝑎𝑦𝑝𝑜𝑖𝑛𝑡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𝑐𝑜𝑙𝑙𝑖𝑠𝑖𝑜𝑛𝑃𝑜𝑖𝑛𝑡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+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𝑋𝑌𝑍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𝑜𝑣𝑒𝑟𝑡𝑎𝑘𝑒𝑛𝑂𝑟𝑖𝑒𝑛𝑡𝑎𝑡𝑖𝑜𝑛</m:t>
                                </m:r>
                              </m:e>
                            </m:d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…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…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𝑐𝑜𝑛𝑣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𝑒𝑟𝑔𝑒𝑛𝑐𝑒</m:t>
                            </m:r>
                          </m:e>
                        </m:mr>
                      </m:m>
                    </m:oMath>
                  </m:oMathPara>
                </a14:m>
                <a:endParaRPr lang="en-US" dirty="0"/>
              </a:p>
              <a:p>
                <a:pPr marL="0" indent="0" algn="ctr">
                  <a:buNone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xfrm>
                <a:off x="532340" y="871734"/>
                <a:ext cx="8046720" cy="4846320"/>
              </a:xfrm>
              <a:blipFill>
                <a:blip r:embed="rId2"/>
                <a:stretch>
                  <a:fillRect l="-606" t="-755" b="-96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77519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530352" y="1193483"/>
            <a:ext cx="8048708" cy="460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6394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functionality as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he Standard Controlled Airspace</a:t>
            </a:r>
            <a:r>
              <a:rPr lang="en-US" dirty="0"/>
              <a:t> provides </a:t>
            </a:r>
            <a:r>
              <a:rPr lang="en-US" i="1" u="sng" dirty="0"/>
              <a:t>horizontal and vertical separation</a:t>
            </a:r>
            <a:r>
              <a:rPr lang="en-US" dirty="0"/>
              <a:t> functionality, the separation in </a:t>
            </a:r>
            <a:r>
              <a:rPr lang="en-US" i="1" u="sng" dirty="0"/>
              <a:t>manned aviation is secured</a:t>
            </a:r>
            <a:r>
              <a:rPr lang="en-US" dirty="0"/>
              <a:t> by </a:t>
            </a:r>
            <a:r>
              <a:rPr lang="en-US" b="1" i="1" u="sng" dirty="0"/>
              <a:t>TCAS I/II</a:t>
            </a:r>
            <a:r>
              <a:rPr lang="en-US" dirty="0"/>
              <a:t> systems  which issues </a:t>
            </a:r>
            <a:r>
              <a:rPr lang="en-US" i="1" u="sng" dirty="0"/>
              <a:t>Traffic Alerts</a:t>
            </a:r>
            <a:r>
              <a:rPr lang="en-US" dirty="0"/>
              <a:t> and recommends </a:t>
            </a:r>
            <a:r>
              <a:rPr lang="en-US" i="1" u="sng" dirty="0"/>
              <a:t>Directional Changes Advices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ext generation separation system family ACAS-X</a:t>
            </a:r>
            <a:r>
              <a:rPr lang="en-US" dirty="0"/>
              <a:t> (in development) can issue </a:t>
            </a:r>
            <a:r>
              <a:rPr lang="en-US" i="1" u="sng" dirty="0"/>
              <a:t>Traffic Commands</a:t>
            </a:r>
            <a:r>
              <a:rPr lang="en-US" dirty="0"/>
              <a:t>, taking </a:t>
            </a:r>
            <a:r>
              <a:rPr lang="en-US" i="1" dirty="0"/>
              <a:t>Unmanned Aviation</a:t>
            </a:r>
            <a:r>
              <a:rPr lang="en-US" dirty="0"/>
              <a:t> into account, the special framework </a:t>
            </a:r>
            <a:r>
              <a:rPr lang="en-US" b="1" i="1" u="sng" dirty="0"/>
              <a:t>ACAS-XU is dedicated for UAS systems</a:t>
            </a:r>
            <a:r>
              <a:rPr lang="en-US" dirty="0"/>
              <a:t> (autonomous drones)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The ACAS-XU</a:t>
            </a:r>
            <a:r>
              <a:rPr lang="en-US" dirty="0"/>
              <a:t> provides following separations:</a:t>
            </a:r>
          </a:p>
          <a:p>
            <a:r>
              <a:rPr lang="en-US" dirty="0"/>
              <a:t>Standard Separations – inherited from TCAS II and Other ACAS-X systems.</a:t>
            </a:r>
          </a:p>
          <a:p>
            <a:r>
              <a:rPr lang="en-US" dirty="0"/>
              <a:t>Combined Separations – native for ACAS-XU system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Restricted Reach Set</a:t>
            </a:r>
            <a:r>
              <a:rPr lang="en-US" dirty="0"/>
              <a:t> estimation method is presented for following reasons:</a:t>
            </a:r>
          </a:p>
          <a:p>
            <a:r>
              <a:rPr lang="en-US" dirty="0"/>
              <a:t>Increase Framework variability and provide functionality for ACAS-XU</a:t>
            </a:r>
          </a:p>
          <a:p>
            <a:r>
              <a:rPr lang="en-US" dirty="0"/>
              <a:t>Prove that framework is </a:t>
            </a:r>
            <a:r>
              <a:rPr lang="en-US" dirty="0" err="1"/>
              <a:t>independed</a:t>
            </a:r>
            <a:r>
              <a:rPr lang="en-US" dirty="0"/>
              <a:t> on used Reach Set Estimation metho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35404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4655122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Standard Separations</a:t>
            </a:r>
            <a:r>
              <a:rPr lang="en-US" dirty="0"/>
              <a:t> are supported in other </a:t>
            </a:r>
            <a:r>
              <a:rPr lang="en-US" i="1" u="sng" dirty="0"/>
              <a:t>ACAS-X implementations</a:t>
            </a:r>
            <a:r>
              <a:rPr lang="en-US" dirty="0"/>
              <a:t> as </a:t>
            </a:r>
            <a:r>
              <a:rPr lang="en-US" i="1" u="sng" dirty="0"/>
              <a:t>maneuver look-up tables</a:t>
            </a:r>
            <a:r>
              <a:rPr lang="en-US" dirty="0"/>
              <a:t>, the trajectories are slightly diverged right (horizontal) and down (vertical) for support of </a:t>
            </a:r>
            <a:r>
              <a:rPr lang="en-US" i="1" u="sng" dirty="0"/>
              <a:t>standard TCAS II behavior</a:t>
            </a:r>
            <a:r>
              <a:rPr lang="en-US" dirty="0"/>
              <a:t> and </a:t>
            </a:r>
            <a:r>
              <a:rPr lang="en-US" i="1" u="sng" dirty="0"/>
              <a:t>Rules of the Air implementa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 Separation</a:t>
            </a:r>
            <a:r>
              <a:rPr lang="en-US" dirty="0"/>
              <a:t> – standard separation in </a:t>
            </a:r>
            <a:r>
              <a:rPr lang="en-US" i="1" u="sng" dirty="0"/>
              <a:t>Flight Level area regardless of the altitude</a:t>
            </a:r>
            <a:r>
              <a:rPr lang="en-US" dirty="0"/>
              <a:t>, horizontal separation </a:t>
            </a:r>
            <a:r>
              <a:rPr lang="en-US" i="1" u="sng" dirty="0"/>
              <a:t>would not break flight level</a:t>
            </a:r>
            <a:r>
              <a:rPr lang="en-US" dirty="0"/>
              <a:t> therefore is preferred for conflict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Vertical separation</a:t>
            </a:r>
            <a:r>
              <a:rPr lang="en-US" dirty="0"/>
              <a:t> – separation for aircrafts with </a:t>
            </a:r>
            <a:r>
              <a:rPr lang="en-US" i="1" u="sng" dirty="0"/>
              <a:t>better horizontal maneuverability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0023" y="1193483"/>
            <a:ext cx="3177565" cy="246752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5385" y="3522160"/>
            <a:ext cx="3362203" cy="251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22165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e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2" y="856419"/>
            <a:ext cx="4659735" cy="2813221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Complete separations</a:t>
            </a:r>
            <a:r>
              <a:rPr lang="en-US" dirty="0"/>
              <a:t> – containing horizontal vertical and tilted separations, closest to original </a:t>
            </a:r>
            <a:r>
              <a:rPr lang="en-US" i="1" u="sng" dirty="0"/>
              <a:t>Harmonic Reach set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/Vertical</a:t>
            </a:r>
            <a:r>
              <a:rPr lang="en-US" dirty="0"/>
              <a:t> – containing horizontal and vertical separations, close to original </a:t>
            </a:r>
            <a:r>
              <a:rPr lang="en-US" i="1" u="sng" dirty="0"/>
              <a:t>TCAS II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Tilted Left/Tilted Right</a:t>
            </a:r>
            <a:r>
              <a:rPr lang="en-US" dirty="0"/>
              <a:t> – ACAS-XU </a:t>
            </a:r>
            <a:endParaRPr lang="en-US" b="1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2077" y="1066723"/>
            <a:ext cx="3445512" cy="26029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076" y="3595343"/>
            <a:ext cx="3445512" cy="26558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0970" y="3669641"/>
            <a:ext cx="3349121" cy="2581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72827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 and Planned Avoid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25606" name="Picture 6" descr="Výsledok vyhľadávania obrázkov pre dopyt air traffic cartoon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" t="4310" r="2676" b="8353"/>
          <a:stretch/>
        </p:blipFill>
        <p:spPr bwMode="auto">
          <a:xfrm>
            <a:off x="433638" y="1044013"/>
            <a:ext cx="8048708" cy="517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Výsledok vyhľadávania obrázkov pre dopyt kid play carto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38" y="5187462"/>
            <a:ext cx="1501751" cy="1030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332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Architecture in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52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1204460" y="1088741"/>
            <a:ext cx="2892755" cy="1328023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2461701"/>
            <a:ext cx="3564875" cy="3578102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/>
              <a:t>Mission Control </a:t>
            </a:r>
            <a:r>
              <a:rPr lang="en-US" dirty="0"/>
              <a:t>responsible for:</a:t>
            </a:r>
          </a:p>
          <a:p>
            <a:r>
              <a:rPr lang="en-US" dirty="0"/>
              <a:t>Waypoint management,</a:t>
            </a:r>
          </a:p>
          <a:p>
            <a:r>
              <a:rPr lang="en-US" dirty="0"/>
              <a:t>Priority checkup,</a:t>
            </a:r>
          </a:p>
          <a:p>
            <a:r>
              <a:rPr lang="en-US" dirty="0"/>
              <a:t>Vehicle safe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avigation Grid</a:t>
            </a:r>
            <a:r>
              <a:rPr lang="en-US" dirty="0"/>
              <a:t> responsible for:</a:t>
            </a:r>
          </a:p>
          <a:p>
            <a:r>
              <a:rPr lang="en-US" dirty="0"/>
              <a:t>Navigation in open spac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Avoidance Grid </a:t>
            </a:r>
            <a:r>
              <a:rPr lang="en-US" dirty="0"/>
              <a:t>responsible for:</a:t>
            </a:r>
          </a:p>
          <a:p>
            <a:r>
              <a:rPr lang="en-US" dirty="0"/>
              <a:t>Intruder avoidance </a:t>
            </a:r>
          </a:p>
          <a:p>
            <a:r>
              <a:rPr lang="en-US" dirty="0"/>
              <a:t>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21602689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Going to be Tes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1327842" y="207417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23150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rrow: Pentagon 8"/>
          <p:cNvSpPr/>
          <p:nvPr/>
        </p:nvSpPr>
        <p:spPr>
          <a:xfrm>
            <a:off x="530351" y="4268506"/>
            <a:ext cx="2714011" cy="369332"/>
          </a:xfrm>
          <a:prstGeom prst="homePlate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eemptive based</a:t>
            </a:r>
          </a:p>
        </p:txBody>
      </p:sp>
      <p:sp>
        <p:nvSpPr>
          <p:cNvPr id="10" name="Arrow: Chevron 9"/>
          <p:cNvSpPr/>
          <p:nvPr/>
        </p:nvSpPr>
        <p:spPr>
          <a:xfrm>
            <a:off x="3070036" y="4268506"/>
            <a:ext cx="3031826" cy="369332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</a:t>
            </a:r>
          </a:p>
        </p:txBody>
      </p:sp>
      <p:sp>
        <p:nvSpPr>
          <p:cNvPr id="11" name="Arrow: Chevron 10"/>
          <p:cNvSpPr/>
          <p:nvPr/>
        </p:nvSpPr>
        <p:spPr>
          <a:xfrm>
            <a:off x="5926014" y="4268506"/>
            <a:ext cx="3059725" cy="369332"/>
          </a:xfrm>
          <a:prstGeom prst="chevron">
            <a:avLst/>
          </a:prstGeom>
          <a:solidFill>
            <a:srgbClr val="E420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0352" y="4670832"/>
            <a:ext cx="2539684" cy="1754326"/>
          </a:xfrm>
          <a:prstGeom prst="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ll defined Way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ree Space guaran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flight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gal complianc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070036" y="4670832"/>
            <a:ext cx="2882354" cy="175432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operative intruders (Rules of the a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d wea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eof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969974" y="4665892"/>
            <a:ext cx="2839918" cy="1754326"/>
          </a:xfrm>
          <a:prstGeom prst="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Cooperative intr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err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ther physical obstacles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2688516" y="225950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1470788" y="3493561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32340" y="268622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1134121" y="1251371"/>
            <a:ext cx="2892755" cy="408623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ime to do some testing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9" name="Speech Bubble: Rectangle with Corners Rounded 18"/>
          <p:cNvSpPr/>
          <p:nvPr/>
        </p:nvSpPr>
        <p:spPr>
          <a:xfrm>
            <a:off x="2491165" y="2926232"/>
            <a:ext cx="1157741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ay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21" name="Speech Bubble: Rectangle with Corners Rounded 20"/>
          <p:cNvSpPr/>
          <p:nvPr/>
        </p:nvSpPr>
        <p:spPr>
          <a:xfrm>
            <a:off x="4860116" y="1158611"/>
            <a:ext cx="4124239" cy="2553891"/>
          </a:xfrm>
          <a:prstGeom prst="wedgeRoundRectCallout">
            <a:avLst>
              <a:gd name="adj1" fmla="val -52936"/>
              <a:gd name="adj2" fmla="val -31228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are going to tes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 Avoid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standard ACAS/ICAO scenari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verging Maneu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d On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ltiple Collision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vertake (Multiple speeds)</a:t>
            </a:r>
          </a:p>
        </p:txBody>
      </p:sp>
      <p:pic>
        <p:nvPicPr>
          <p:cNvPr id="20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0794" y="1230010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1526798" y="1757487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nocent UAS system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491165" y="3830027"/>
            <a:ext cx="42416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minder on Collision Avoidance Types</a:t>
            </a:r>
          </a:p>
        </p:txBody>
      </p:sp>
    </p:spTree>
    <p:extLst>
      <p:ext uri="{BB962C8B-B14F-4D97-AF65-F5344CB8AC3E}">
        <p14:creationId xmlns:p14="http://schemas.microsoft.com/office/powerpoint/2010/main" val="43005457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cenario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193482"/>
            <a:ext cx="3927118" cy="5268863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Converging Maneuver</a:t>
            </a:r>
          </a:p>
          <a:p>
            <a:r>
              <a:rPr lang="en-US" i="1" u="sng" dirty="0"/>
              <a:t>Event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r>
              <a:rPr lang="en-US" i="1" u="sng" dirty="0"/>
              <a:t>Situation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Head-On Approach</a:t>
            </a:r>
          </a:p>
          <a:p>
            <a:r>
              <a:rPr lang="en-US" i="1" u="sng" dirty="0"/>
              <a:t>Event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r>
              <a:rPr lang="en-US" i="1" u="sng" dirty="0"/>
              <a:t>Situation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Multiple Collision Cases</a:t>
            </a:r>
          </a:p>
          <a:p>
            <a:r>
              <a:rPr lang="en-US" i="1" u="sng" dirty="0"/>
              <a:t>Event Based:</a:t>
            </a:r>
          </a:p>
          <a:p>
            <a:pPr lvl="1"/>
            <a:r>
              <a:rPr lang="en-US" dirty="0"/>
              <a:t>4x UAS system</a:t>
            </a:r>
          </a:p>
          <a:p>
            <a:pPr lvl="1"/>
            <a:r>
              <a:rPr lang="en-US" dirty="0"/>
              <a:t>ADS-B I/O</a:t>
            </a:r>
          </a:p>
          <a:p>
            <a:r>
              <a:rPr lang="en-US" i="1" u="sng" dirty="0"/>
              <a:t>Situation Based:</a:t>
            </a:r>
          </a:p>
          <a:p>
            <a:pPr lvl="1"/>
            <a:r>
              <a:rPr lang="en-US" dirty="0"/>
              <a:t>4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 </a:t>
            </a:r>
            <a:endParaRPr lang="en-US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r>
              <a:rPr lang="en-US" b="1" i="1" u="sng" dirty="0"/>
              <a:t>Overtake</a:t>
            </a:r>
          </a:p>
          <a:p>
            <a:r>
              <a:rPr lang="en-US" i="1" u="sng" dirty="0"/>
              <a:t>Situation Based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</a:t>
            </a:r>
          </a:p>
          <a:p>
            <a:pPr lvl="1"/>
            <a:r>
              <a:rPr lang="en-US" dirty="0"/>
              <a:t>2x Overtaking/Overtaken velocity</a:t>
            </a:r>
          </a:p>
          <a:p>
            <a:pPr lvl="1"/>
            <a:r>
              <a:rPr lang="en-US" dirty="0"/>
              <a:t>3x Overtaking/Overtaken velocity</a:t>
            </a:r>
          </a:p>
          <a:p>
            <a:pPr lvl="1"/>
            <a:r>
              <a:rPr lang="en-US" dirty="0"/>
              <a:t>4x Overtaking/Overtaken velocity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81577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</a:t>
            </a:r>
            <a:r>
              <a:rPr lang="en-US" dirty="0" err="1"/>
              <a:t>Manue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40154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on other right, has the right of the wa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No automatic alt text available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521" y="4378885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peech Bubble: Rectangle with Corners Rounded 13"/>
          <p:cNvSpPr/>
          <p:nvPr/>
        </p:nvSpPr>
        <p:spPr>
          <a:xfrm>
            <a:off x="5837302" y="4245515"/>
            <a:ext cx="2892755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Quick Recapitulation Time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emergency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949325"/>
            <a:ext cx="9144001" cy="548568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618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147769" y="856420"/>
            <a:ext cx="6446125" cy="547814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3900314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ruleBasedCooperativ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045355"/>
            <a:ext cx="9144001" cy="51429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410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59688" y="856420"/>
            <a:ext cx="6622288" cy="55004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376032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in the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454574" y="1448891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peech Bubble: Rectangle with Corners Rounded 9"/>
          <p:cNvSpPr/>
          <p:nvPr/>
        </p:nvSpPr>
        <p:spPr>
          <a:xfrm>
            <a:off x="520852" y="952743"/>
            <a:ext cx="3704733" cy="715089"/>
          </a:xfrm>
          <a:prstGeom prst="wedgeRoundRectCallout">
            <a:avLst>
              <a:gd name="adj1" fmla="val 56461"/>
              <a:gd name="adj2" fmla="val 12838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at is a reason to have </a:t>
            </a:r>
          </a:p>
          <a:p>
            <a:pPr algn="ctr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wo separate grids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?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832" y="356786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496635" y="1698118"/>
            <a:ext cx="3728950" cy="2553891"/>
          </a:xfrm>
          <a:prstGeom prst="wedgeRoundRectCallout">
            <a:avLst>
              <a:gd name="adj1" fmla="val 54181"/>
              <a:gd name="adj2" fmla="val 37124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sepa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ky is clear we can consider to apply man made 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ituation arises, we need to protect ourselves</a:t>
            </a:r>
          </a:p>
        </p:txBody>
      </p:sp>
      <p:sp>
        <p:nvSpPr>
          <p:cNvPr id="16" name="Arrow: Pentagon 15"/>
          <p:cNvSpPr/>
          <p:nvPr/>
        </p:nvSpPr>
        <p:spPr>
          <a:xfrm>
            <a:off x="530351" y="4268506"/>
            <a:ext cx="2714011" cy="369332"/>
          </a:xfrm>
          <a:prstGeom prst="homePlate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eemptive based</a:t>
            </a:r>
          </a:p>
        </p:txBody>
      </p:sp>
      <p:sp>
        <p:nvSpPr>
          <p:cNvPr id="17" name="Arrow: Chevron 16"/>
          <p:cNvSpPr/>
          <p:nvPr/>
        </p:nvSpPr>
        <p:spPr>
          <a:xfrm>
            <a:off x="3070036" y="4268506"/>
            <a:ext cx="3031826" cy="369332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</a:t>
            </a:r>
          </a:p>
        </p:txBody>
      </p:sp>
      <p:sp>
        <p:nvSpPr>
          <p:cNvPr id="18" name="Arrow: Chevron 17"/>
          <p:cNvSpPr/>
          <p:nvPr/>
        </p:nvSpPr>
        <p:spPr>
          <a:xfrm>
            <a:off x="5926014" y="4268506"/>
            <a:ext cx="3059725" cy="369332"/>
          </a:xfrm>
          <a:prstGeom prst="chevron">
            <a:avLst/>
          </a:prstGeom>
          <a:solidFill>
            <a:srgbClr val="E420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30352" y="4670832"/>
            <a:ext cx="2539684" cy="1754326"/>
          </a:xfrm>
          <a:prstGeom prst="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ll defined Way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ree Space guaran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flight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gal complian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070036" y="4670832"/>
            <a:ext cx="2882354" cy="175432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operative intruders (Rules of the a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d wea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eof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969974" y="4665892"/>
            <a:ext cx="2839918" cy="1754326"/>
          </a:xfrm>
          <a:prstGeom prst="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Cooperative intr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err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ther physical obstacles</a:t>
            </a:r>
          </a:p>
        </p:txBody>
      </p:sp>
    </p:spTree>
    <p:extLst>
      <p:ext uri="{BB962C8B-B14F-4D97-AF65-F5344CB8AC3E}">
        <p14:creationId xmlns:p14="http://schemas.microsoft.com/office/powerpoint/2010/main" val="406980638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2212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must be defined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5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6" name="Picture 2" descr="No automatic alt text available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521" y="1064187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peech Bubble: Rectangle with Corners Rounded 16"/>
          <p:cNvSpPr/>
          <p:nvPr/>
        </p:nvSpPr>
        <p:spPr>
          <a:xfrm>
            <a:off x="5837302" y="930817"/>
            <a:ext cx="2892755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Quick Recapitulation Time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pic>
        <p:nvPicPr>
          <p:cNvPr id="5" name="noncooperativeHeadOnManuever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8141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465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608" y="856420"/>
            <a:ext cx="6378448" cy="5359158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2816229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operativ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409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068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48921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988341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86289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pic>
        <p:nvPicPr>
          <p:cNvPr id="5" name="non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917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833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5676"/>
            <a:ext cx="9144000" cy="5039127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169228" y="272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492803" y="482151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131381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M Module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1348876" y="4242731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5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669569" y="1241974"/>
            <a:ext cx="3531799" cy="1021556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pic>
        <p:nvPicPr>
          <p:cNvPr id="22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4" y="2695043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peech Bubble: Rectangle with Corners Rounded 20"/>
          <p:cNvSpPr/>
          <p:nvPr/>
        </p:nvSpPr>
        <p:spPr>
          <a:xfrm>
            <a:off x="669569" y="2700685"/>
            <a:ext cx="3531799" cy="1328023"/>
          </a:xfrm>
          <a:prstGeom prst="wedgeRoundRectCallout">
            <a:avLst>
              <a:gd name="adj1" fmla="val -54725"/>
              <a:gd name="adj2" fmla="val -8347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ere is need for </a:t>
            </a:r>
          </a:p>
          <a:p>
            <a:pPr algn="ctr"/>
            <a:r>
              <a:rPr lang="en-US" i="1" u="sng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ASTrafficManagement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(UT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ovide C2 link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operative functionality</a:t>
            </a:r>
          </a:p>
        </p:txBody>
      </p:sp>
      <p:sp>
        <p:nvSpPr>
          <p:cNvPr id="23" name="Speech Bubble: Rectangle with Corners Rounded 22"/>
          <p:cNvSpPr/>
          <p:nvPr/>
        </p:nvSpPr>
        <p:spPr>
          <a:xfrm>
            <a:off x="363805" y="5488242"/>
            <a:ext cx="3531799" cy="715089"/>
          </a:xfrm>
          <a:prstGeom prst="wedgeRoundRectCallout">
            <a:avLst>
              <a:gd name="adj1" fmla="val 1288"/>
              <a:gd name="adj2" fmla="val -100562"/>
              <a:gd name="adj3" fmla="val 16667"/>
            </a:avLst>
          </a:prstGeom>
          <a:solidFill>
            <a:srgbClr val="C00000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e module to rule them all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</a:t>
            </a:r>
            <a:r>
              <a:rPr lang="en-US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pac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EU, UTM US)</a:t>
            </a:r>
          </a:p>
        </p:txBody>
      </p:sp>
    </p:spTree>
    <p:extLst>
      <p:ext uri="{BB962C8B-B14F-4D97-AF65-F5344CB8AC3E}">
        <p14:creationId xmlns:p14="http://schemas.microsoft.com/office/powerpoint/2010/main" val="231075104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pic>
        <p:nvPicPr>
          <p:cNvPr id="5" name="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0596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794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8984"/>
            <a:ext cx="9144000" cy="5028031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169228" y="272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492803" y="482151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5827684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31898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521" y="4378885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peech Bubble: Rectangle with Corners Rounded 12"/>
          <p:cNvSpPr/>
          <p:nvPr/>
        </p:nvSpPr>
        <p:spPr>
          <a:xfrm>
            <a:off x="5837302" y="4245515"/>
            <a:ext cx="2892755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Quick Recapitulation Time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1 Overtale 2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22205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632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2 Overtake 3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3074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31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4x Speed)</a:t>
            </a:r>
          </a:p>
        </p:txBody>
      </p:sp>
      <p:pic>
        <p:nvPicPr>
          <p:cNvPr id="5" name="03 Overtake 4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612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5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Comparison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56420"/>
            <a:ext cx="9144000" cy="558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17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ch Functionality is Provided by UT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raffic management responsibilities (selected):</a:t>
            </a:r>
          </a:p>
          <a:p>
            <a:r>
              <a:rPr lang="en-US" i="1" u="sng" dirty="0"/>
              <a:t>Separation</a:t>
            </a:r>
            <a:r>
              <a:rPr lang="en-US" dirty="0"/>
              <a:t> – keep all airspace users (manned/unmanned) </a:t>
            </a:r>
            <a:r>
              <a:rPr lang="en-US" i="1" u="sng" dirty="0"/>
              <a:t>Well Clear.</a:t>
            </a:r>
          </a:p>
          <a:p>
            <a:r>
              <a:rPr lang="en-US" i="1" u="sng" dirty="0"/>
              <a:t>Collision prevention</a:t>
            </a:r>
            <a:r>
              <a:rPr lang="en-US" i="1" dirty="0"/>
              <a:t> </a:t>
            </a:r>
            <a:r>
              <a:rPr lang="en-US" dirty="0"/>
              <a:t>– prevent collision and enforce rule compliance.</a:t>
            </a:r>
          </a:p>
          <a:p>
            <a:r>
              <a:rPr lang="en-US" i="1" u="sng" dirty="0"/>
              <a:t>Conflict resolution</a:t>
            </a:r>
            <a:r>
              <a:rPr lang="en-US" i="1" dirty="0"/>
              <a:t> </a:t>
            </a:r>
            <a:r>
              <a:rPr lang="en-US" dirty="0"/>
              <a:t>– the UTM decides request satisfaction based on rule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eparation:</a:t>
            </a:r>
          </a:p>
          <a:p>
            <a:r>
              <a:rPr lang="en-US" i="1" u="sng" dirty="0"/>
              <a:t>Controlled Airspace</a:t>
            </a:r>
            <a:r>
              <a:rPr lang="en-US" dirty="0"/>
              <a:t> is segregated into </a:t>
            </a:r>
            <a:r>
              <a:rPr lang="en-US" i="1" u="sng" dirty="0"/>
              <a:t>Flight Levels</a:t>
            </a:r>
            <a:r>
              <a:rPr lang="en-US" dirty="0"/>
              <a:t> by 1000 feet's of Barometric Altitude (ASL).</a:t>
            </a:r>
          </a:p>
          <a:p>
            <a:r>
              <a:rPr lang="en-US" dirty="0"/>
              <a:t>Each Flight Level is considered as </a:t>
            </a:r>
            <a:r>
              <a:rPr lang="en-US" i="1" u="sng" dirty="0"/>
              <a:t>separated space with planar routing.</a:t>
            </a:r>
          </a:p>
          <a:p>
            <a:r>
              <a:rPr lang="en-US" i="1" u="sng" dirty="0"/>
              <a:t>UAS</a:t>
            </a:r>
            <a:r>
              <a:rPr lang="en-US" dirty="0"/>
              <a:t> can induce climb/descent maneuvers in </a:t>
            </a:r>
            <a:r>
              <a:rPr lang="en-US" i="1" u="sng" dirty="0"/>
              <a:t>local level altitude 250-750</a:t>
            </a:r>
            <a:r>
              <a:rPr lang="en-US" dirty="0"/>
              <a:t> </a:t>
            </a:r>
            <a:r>
              <a:rPr lang="en-US" i="1" u="sng" dirty="0"/>
              <a:t>feet.</a:t>
            </a:r>
          </a:p>
          <a:p>
            <a:r>
              <a:rPr lang="en-US" i="1" u="sng" dirty="0"/>
              <a:t>UAS </a:t>
            </a:r>
            <a:r>
              <a:rPr lang="en-US" dirty="0"/>
              <a:t>must ask for a permission to change flight levels and reserve multiple levels during take of and landing.</a:t>
            </a:r>
          </a:p>
          <a:p>
            <a:r>
              <a:rPr lang="en-US" i="1" u="sng" dirty="0"/>
              <a:t>UAS</a:t>
            </a:r>
            <a:r>
              <a:rPr lang="en-US" dirty="0"/>
              <a:t> must stay </a:t>
            </a:r>
            <a:r>
              <a:rPr lang="en-US" i="1" u="sng" dirty="0"/>
              <a:t>“Well clear”</a:t>
            </a:r>
            <a:r>
              <a:rPr lang="en-US" dirty="0"/>
              <a:t> from any other traffic considering protection tube with given own radius (intruder radius).</a:t>
            </a:r>
          </a:p>
          <a:p>
            <a:r>
              <a:rPr lang="en-US" i="1" u="sng" dirty="0"/>
              <a:t>ACAS-XU</a:t>
            </a:r>
            <a:r>
              <a:rPr lang="en-US" dirty="0"/>
              <a:t> defines such separations.</a:t>
            </a:r>
            <a:endParaRPr lang="en-US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24545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Margin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519676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169228" y="7034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529902" y="569551"/>
            <a:ext cx="1558025" cy="408623"/>
          </a:xfrm>
          <a:prstGeom prst="wedgeRoundRectCallout">
            <a:avLst>
              <a:gd name="adj1" fmla="val -80307"/>
              <a:gd name="adj2" fmla="val -111959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9016758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ision Preven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llision prevention</a:t>
            </a:r>
            <a:r>
              <a:rPr lang="en-US" dirty="0"/>
              <a:t> is based on </a:t>
            </a:r>
            <a:r>
              <a:rPr lang="en-US" b="1" i="1" u="sng" dirty="0"/>
              <a:t>aircraft mode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Descend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higher to lower</a:t>
            </a:r>
            <a:r>
              <a:rPr lang="en-US" dirty="0"/>
              <a:t> during landing maneuver or during required descent given by flight plan.</a:t>
            </a:r>
          </a:p>
          <a:p>
            <a:pPr marL="342900" indent="-342900">
              <a:buFont typeface="+mj-lt"/>
              <a:buAutoNum type="arabicPeriod"/>
            </a:pPr>
            <a:endParaRPr lang="en-US" i="1" u="sng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limb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lower to higher</a:t>
            </a:r>
            <a:r>
              <a:rPr lang="en-US" dirty="0"/>
              <a:t> during take off maneuver or during required ascend given by geographical features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Loitering</a:t>
            </a:r>
            <a:r>
              <a:rPr lang="en-US" dirty="0"/>
              <a:t> – aircraft is </a:t>
            </a:r>
            <a:r>
              <a:rPr lang="en-US" i="1" u="sng" dirty="0"/>
              <a:t>moving in same flight level</a:t>
            </a:r>
            <a:r>
              <a:rPr lang="en-US" dirty="0"/>
              <a:t> (We will focus on this part), aircraft is required to keep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orizontal separation – avoid protection range of other aircrafts on same level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Vertical separation – avoid entering to protected zones of flight level (0-250 feet, 750-1000 feet) of local altitude in flight level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</a:t>
            </a:r>
            <a:r>
              <a:rPr lang="en-US" i="1" u="sng" dirty="0" err="1"/>
              <a:t>EuroContol</a:t>
            </a:r>
            <a:r>
              <a:rPr lang="en-US" i="1" u="sng" dirty="0"/>
              <a:t>/EASA separates flight levels based on barometric pressure in controlled region,</a:t>
            </a:r>
            <a:r>
              <a:rPr lang="en-US" dirty="0"/>
              <a:t> therefore aircraft needs to have barometric altitude measurement equipment to fly in </a:t>
            </a:r>
            <a:r>
              <a:rPr lang="en-US" i="1" u="sng" dirty="0"/>
              <a:t>Controlled Airspace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18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861</TotalTime>
  <Words>3311</Words>
  <Application>Microsoft Office PowerPoint</Application>
  <PresentationFormat>On-screen Show (4:3)</PresentationFormat>
  <Paragraphs>759</Paragraphs>
  <Slides>81</Slides>
  <Notes>2</Notes>
  <HiddenSlides>0</HiddenSlides>
  <MMClips>9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1</vt:i4>
      </vt:variant>
    </vt:vector>
  </HeadingPairs>
  <TitlesOfParts>
    <vt:vector size="93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Rules of the Air Context Introduction</vt:lpstr>
      <vt:lpstr>Framework </vt:lpstr>
      <vt:lpstr>Covered Functionality</vt:lpstr>
      <vt:lpstr>Current Architecture in Nutshell</vt:lpstr>
      <vt:lpstr>Avoidance in the nutshell</vt:lpstr>
      <vt:lpstr>UTM Module Introduction</vt:lpstr>
      <vt:lpstr>Which Functionality is Provided by UTM</vt:lpstr>
      <vt:lpstr>Collision Prevention</vt:lpstr>
      <vt:lpstr>Conflict resolution</vt:lpstr>
      <vt:lpstr>How is Collision Case resolved by UTM</vt:lpstr>
      <vt:lpstr>What is Considered in UTM Resolution</vt:lpstr>
      <vt:lpstr>Vehicle Category/Maneuverability</vt:lpstr>
      <vt:lpstr>Right of the Way Rules</vt:lpstr>
      <vt:lpstr>Rule Engine</vt:lpstr>
      <vt:lpstr>Rule Engine Introduction</vt:lpstr>
      <vt:lpstr>Rule Engine Architecture</vt:lpstr>
      <vt:lpstr>Rule Engine in Nutshell</vt:lpstr>
      <vt:lpstr>Rule Engine Setup</vt:lpstr>
      <vt:lpstr>Rule: Right Plane Heading</vt:lpstr>
      <vt:lpstr>Right Plane Heading (1)</vt:lpstr>
      <vt:lpstr>Right Plane Heading (2)</vt:lpstr>
      <vt:lpstr>Right Plane Heading (3)</vt:lpstr>
      <vt:lpstr>Right Plane Heading (4)</vt:lpstr>
      <vt:lpstr>Right Plane Heading (5)</vt:lpstr>
      <vt:lpstr>Right Plane Heading (6)</vt:lpstr>
      <vt:lpstr>Disable Left Plane Heading (7)</vt:lpstr>
      <vt:lpstr>Rule: Enforce Safety Margin </vt:lpstr>
      <vt:lpstr>Enforce Safety Margin (1)</vt:lpstr>
      <vt:lpstr>Enforce Safety Margin (2)</vt:lpstr>
      <vt:lpstr>Enforce Safety Margin (3)</vt:lpstr>
      <vt:lpstr>Enforce Safety Margin (4)</vt:lpstr>
      <vt:lpstr>Enforce Safety Margin (5)</vt:lpstr>
      <vt:lpstr>Enforce Safety Margin (6)</vt:lpstr>
      <vt:lpstr>Enforce Safety Margin (7)</vt:lpstr>
      <vt:lpstr>Rule: Detect Collision Cases</vt:lpstr>
      <vt:lpstr>Rule: Resolve Collision Case</vt:lpstr>
      <vt:lpstr>Rule: Close Collision Case</vt:lpstr>
      <vt:lpstr>Rule: Converging Maneuver</vt:lpstr>
      <vt:lpstr>Rule: Head On Approach</vt:lpstr>
      <vt:lpstr>Rule: Overtake</vt:lpstr>
      <vt:lpstr>Divergence/Convergence Waypoint Example</vt:lpstr>
      <vt:lpstr>Divergence/Convergence Waypoint Calculation</vt:lpstr>
      <vt:lpstr>Divergence/Convergence Waypoint Calculation</vt:lpstr>
      <vt:lpstr>ACAS-XU Reach Set</vt:lpstr>
      <vt:lpstr>ACAS-XU functionality as Reach Set</vt:lpstr>
      <vt:lpstr>Standard Separations</vt:lpstr>
      <vt:lpstr>Combined Separations</vt:lpstr>
      <vt:lpstr>Emergency and Planned Avoidance</vt:lpstr>
      <vt:lpstr>What is Going to be Tested</vt:lpstr>
      <vt:lpstr>Standard Scenarios</vt:lpstr>
      <vt:lpstr>Converging Manuever</vt:lpstr>
      <vt:lpstr>Converging Maneuver - Trigger</vt:lpstr>
      <vt:lpstr>Converging Maneuver - Resolution</vt:lpstr>
      <vt:lpstr>Converging Maneuver – Leave condition</vt:lpstr>
      <vt:lpstr>Emergency: Converging Maneuver </vt:lpstr>
      <vt:lpstr>Emergency: Converging Maneuver </vt:lpstr>
      <vt:lpstr>Rule-Based: Converging Maneuver</vt:lpstr>
      <vt:lpstr>Rule-Based: Converging Maneuver</vt:lpstr>
      <vt:lpstr>Head On Approach</vt:lpstr>
      <vt:lpstr>Head On Approach - Trigger</vt:lpstr>
      <vt:lpstr>Head On Approach - Resolution</vt:lpstr>
      <vt:lpstr>Emergency: Head On Approach</vt:lpstr>
      <vt:lpstr>Emergency: Head On Approach</vt:lpstr>
      <vt:lpstr>Rule-Based: Head On Approach</vt:lpstr>
      <vt:lpstr>Rule-Based: Head On Approach</vt:lpstr>
      <vt:lpstr>Multiple Collision Cases</vt:lpstr>
      <vt:lpstr>Emergency: Multiple Collision Cases</vt:lpstr>
      <vt:lpstr>Emergency: Multiple Collision Cases</vt:lpstr>
      <vt:lpstr>Rule-Based: Multiple Collision Cases</vt:lpstr>
      <vt:lpstr>Rule-Based: Multiple Collision Cases</vt:lpstr>
      <vt:lpstr>Overtake Maneuver</vt:lpstr>
      <vt:lpstr>Overtake Maneuver - Trigger</vt:lpstr>
      <vt:lpstr>Overtake Maneuver - Resolution</vt:lpstr>
      <vt:lpstr>Overtake Maneuver – Leave Condition</vt:lpstr>
      <vt:lpstr>Rule-Based: Overtake Maneuver (3x speed)</vt:lpstr>
      <vt:lpstr>Rule-Based: Overtake Maneuver (3x Speed)</vt:lpstr>
      <vt:lpstr>Rule-Based: Overtake Maneuver (4x Speed)</vt:lpstr>
      <vt:lpstr>Rule-Based: Overtake Maneuver (Comparison)</vt:lpstr>
      <vt:lpstr>Rule-Based: Overtake Maneuver (Margins)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13</cp:revision>
  <cp:lastPrinted>2015-07-29T21:30:37Z</cp:lastPrinted>
  <dcterms:created xsi:type="dcterms:W3CDTF">2017-09-21T08:49:16Z</dcterms:created>
  <dcterms:modified xsi:type="dcterms:W3CDTF">2018-03-28T16:16:3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